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95" r:id="rId2"/>
    <p:sldId id="284" r:id="rId3"/>
    <p:sldId id="283" r:id="rId4"/>
    <p:sldId id="275" r:id="rId5"/>
    <p:sldId id="285" r:id="rId6"/>
    <p:sldId id="257" r:id="rId7"/>
    <p:sldId id="286" r:id="rId8"/>
    <p:sldId id="273" r:id="rId9"/>
    <p:sldId id="287" r:id="rId10"/>
    <p:sldId id="261" r:id="rId11"/>
    <p:sldId id="294" r:id="rId12"/>
    <p:sldId id="297" r:id="rId13"/>
    <p:sldId id="263" r:id="rId14"/>
    <p:sldId id="264" r:id="rId15"/>
    <p:sldId id="265" r:id="rId16"/>
    <p:sldId id="292" r:id="rId17"/>
  </p:sldIdLst>
  <p:sldSz cx="12192000" cy="6858000"/>
  <p:notesSz cx="7104063" cy="102346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5394"/>
    <a:srgbClr val="229A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762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838200" y="365125"/>
            <a:ext cx="10515600" cy="58118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186774" y="1778438"/>
            <a:ext cx="4873574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1186774" y="2665379"/>
            <a:ext cx="4873574" cy="352428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56938" y="1778438"/>
            <a:ext cx="4897576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56938" y="2665379"/>
            <a:ext cx="4897576" cy="352428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41653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4165349" cy="38115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288E0-7875-42C4-84C8-98DBBD3BF4D2}" type="datetimeFigureOut">
              <a:rPr lang="zh-CN" altLang="en-US" smtClean="0"/>
              <a:t>2020/1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g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>
            <a:extLst>
              <a:ext uri="{FF2B5EF4-FFF2-40B4-BE49-F238E27FC236}">
                <a16:creationId xmlns:a16="http://schemas.microsoft.com/office/drawing/2014/main" id="{3B9D2E08-CF92-47A4-ABE9-9807891AF7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" r="1012"/>
          <a:stretch/>
        </p:blipFill>
        <p:spPr>
          <a:xfrm flipH="1">
            <a:off x="0" y="0"/>
            <a:ext cx="12177488" cy="6858000"/>
          </a:xfrm>
          <a:prstGeom prst="rect">
            <a:avLst/>
          </a:prstGeom>
        </p:spPr>
      </p:pic>
      <p:sp>
        <p:nvSpPr>
          <p:cNvPr id="2" name="平行四边形 1">
            <a:extLst>
              <a:ext uri="{FF2B5EF4-FFF2-40B4-BE49-F238E27FC236}">
                <a16:creationId xmlns:a16="http://schemas.microsoft.com/office/drawing/2014/main" id="{1A19E359-7C86-4894-B1BC-AFA1E7155C71}"/>
              </a:ext>
            </a:extLst>
          </p:cNvPr>
          <p:cNvSpPr/>
          <p:nvPr/>
        </p:nvSpPr>
        <p:spPr>
          <a:xfrm>
            <a:off x="-14512" y="-17130"/>
            <a:ext cx="6617613" cy="6872092"/>
          </a:xfrm>
          <a:prstGeom prst="parallelogram">
            <a:avLst>
              <a:gd name="adj" fmla="val 45800"/>
            </a:avLst>
          </a:prstGeom>
          <a:gradFill flip="none" rotWithShape="1">
            <a:gsLst>
              <a:gs pos="21000">
                <a:srgbClr val="162B7A"/>
              </a:gs>
              <a:gs pos="100000">
                <a:srgbClr val="021C69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平行四边形 14">
            <a:extLst>
              <a:ext uri="{FF2B5EF4-FFF2-40B4-BE49-F238E27FC236}">
                <a16:creationId xmlns:a16="http://schemas.microsoft.com/office/drawing/2014/main" id="{7358DAB2-3A01-415F-9BCB-5B2BDC42A740}"/>
              </a:ext>
            </a:extLst>
          </p:cNvPr>
          <p:cNvSpPr/>
          <p:nvPr/>
        </p:nvSpPr>
        <p:spPr>
          <a:xfrm>
            <a:off x="5532058" y="-17130"/>
            <a:ext cx="6617613" cy="6872092"/>
          </a:xfrm>
          <a:prstGeom prst="parallelogram">
            <a:avLst>
              <a:gd name="adj" fmla="val 45800"/>
            </a:avLst>
          </a:prstGeom>
          <a:gradFill flip="none" rotWithShape="1">
            <a:gsLst>
              <a:gs pos="21000">
                <a:srgbClr val="162B7A"/>
              </a:gs>
              <a:gs pos="100000">
                <a:srgbClr val="021C69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AC698072-2966-4B52-A13E-6ABD2D725107}"/>
              </a:ext>
            </a:extLst>
          </p:cNvPr>
          <p:cNvSpPr txBox="1"/>
          <p:nvPr/>
        </p:nvSpPr>
        <p:spPr>
          <a:xfrm>
            <a:off x="1944565" y="2550844"/>
            <a:ext cx="849463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5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无人机竞速赛事项目计划书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40EBD4BE-4C48-4316-89A1-A58FE3B5804F}"/>
              </a:ext>
            </a:extLst>
          </p:cNvPr>
          <p:cNvSpPr txBox="1"/>
          <p:nvPr/>
        </p:nvSpPr>
        <p:spPr>
          <a:xfrm>
            <a:off x="2710765" y="3792916"/>
            <a:ext cx="6962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unmanned aerial vehicle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（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UAV 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）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race </a:t>
            </a:r>
            <a:endParaRPr lang="zh-CN" altLang="en-US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28" name="平行四边形 27">
            <a:extLst>
              <a:ext uri="{FF2B5EF4-FFF2-40B4-BE49-F238E27FC236}">
                <a16:creationId xmlns:a16="http://schemas.microsoft.com/office/drawing/2014/main" id="{11ABA1C9-F7F9-4F04-A7BD-E9E0F647B22D}"/>
              </a:ext>
            </a:extLst>
          </p:cNvPr>
          <p:cNvSpPr/>
          <p:nvPr/>
        </p:nvSpPr>
        <p:spPr>
          <a:xfrm>
            <a:off x="3915272" y="4209453"/>
            <a:ext cx="2418149" cy="2679928"/>
          </a:xfrm>
          <a:prstGeom prst="parallelogram">
            <a:avLst>
              <a:gd name="adj" fmla="val 49882"/>
            </a:avLst>
          </a:prstGeom>
          <a:gradFill flip="none" rotWithShape="1">
            <a:gsLst>
              <a:gs pos="21000">
                <a:srgbClr val="162B7A"/>
              </a:gs>
              <a:gs pos="100000">
                <a:srgbClr val="021C69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直角三角形 2">
            <a:extLst>
              <a:ext uri="{FF2B5EF4-FFF2-40B4-BE49-F238E27FC236}">
                <a16:creationId xmlns:a16="http://schemas.microsoft.com/office/drawing/2014/main" id="{11DF301D-5648-4116-A3BB-6CAB32AB02CB}"/>
              </a:ext>
            </a:extLst>
          </p:cNvPr>
          <p:cNvSpPr/>
          <p:nvPr/>
        </p:nvSpPr>
        <p:spPr>
          <a:xfrm flipV="1">
            <a:off x="0" y="0"/>
            <a:ext cx="1149069" cy="2501112"/>
          </a:xfrm>
          <a:prstGeom prst="rtTriangle">
            <a:avLst/>
          </a:prstGeom>
          <a:gradFill flip="none" rotWithShape="1">
            <a:gsLst>
              <a:gs pos="21000">
                <a:srgbClr val="162B7A"/>
              </a:gs>
              <a:gs pos="100000">
                <a:srgbClr val="021C69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9" name="直角三角形 28">
            <a:extLst>
              <a:ext uri="{FF2B5EF4-FFF2-40B4-BE49-F238E27FC236}">
                <a16:creationId xmlns:a16="http://schemas.microsoft.com/office/drawing/2014/main" id="{B1A9E355-EFA8-4343-A200-3F86CA8A12C4}"/>
              </a:ext>
            </a:extLst>
          </p:cNvPr>
          <p:cNvSpPr/>
          <p:nvPr/>
        </p:nvSpPr>
        <p:spPr>
          <a:xfrm flipH="1">
            <a:off x="10532883" y="3122778"/>
            <a:ext cx="1644603" cy="3732184"/>
          </a:xfrm>
          <a:prstGeom prst="rtTriangle">
            <a:avLst/>
          </a:prstGeom>
          <a:gradFill flip="none" rotWithShape="1">
            <a:gsLst>
              <a:gs pos="21000">
                <a:srgbClr val="162B7A"/>
              </a:gs>
              <a:gs pos="100000">
                <a:srgbClr val="021C69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EE84AC5-FD8E-4367-87B9-E1424A703188}"/>
              </a:ext>
            </a:extLst>
          </p:cNvPr>
          <p:cNvSpPr txBox="1"/>
          <p:nvPr/>
        </p:nvSpPr>
        <p:spPr>
          <a:xfrm>
            <a:off x="5777030" y="4979902"/>
            <a:ext cx="2925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1" algn="ctr"/>
            <a:r>
              <a:rPr lang="en-US" altLang="zh-CN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XXX</a:t>
            </a:r>
            <a:r>
              <a:rPr lang="zh-CN" alt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科技有限公司</a:t>
            </a:r>
          </a:p>
        </p:txBody>
      </p:sp>
    </p:spTree>
    <p:extLst>
      <p:ext uri="{BB962C8B-B14F-4D97-AF65-F5344CB8AC3E}">
        <p14:creationId xmlns:p14="http://schemas.microsoft.com/office/powerpoint/2010/main" val="1889638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5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483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2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0" grpId="0"/>
      <p:bldP spid="27" grpId="0"/>
      <p:bldP spid="28" grpId="0" animBg="1"/>
      <p:bldP spid="3" grpId="0" animBg="1"/>
      <p:bldP spid="29" grpId="0" animBg="1"/>
      <p:bldP spid="1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26CE2EEE-A045-40FE-81FD-2894FFEACFF9}"/>
              </a:ext>
            </a:extLst>
          </p:cNvPr>
          <p:cNvSpPr txBox="1"/>
          <p:nvPr/>
        </p:nvSpPr>
        <p:spPr>
          <a:xfrm>
            <a:off x="1071952" y="152481"/>
            <a:ext cx="537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</a:t>
            </a:r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世锦赛初步方案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3F7AE023-B85B-4CFF-B33B-496E3A62962C}"/>
              </a:ext>
            </a:extLst>
          </p:cNvPr>
          <p:cNvGrpSpPr/>
          <p:nvPr/>
        </p:nvGrpSpPr>
        <p:grpSpPr>
          <a:xfrm>
            <a:off x="292423" y="146390"/>
            <a:ext cx="712800" cy="712800"/>
            <a:chOff x="8058460" y="5143897"/>
            <a:chExt cx="1291814" cy="1291814"/>
          </a:xfrm>
        </p:grpSpPr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FA93FA84-32DF-4CC7-819C-29E2715A2B98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8" name="空心弧 7">
              <a:extLst>
                <a:ext uri="{FF2B5EF4-FFF2-40B4-BE49-F238E27FC236}">
                  <a16:creationId xmlns:a16="http://schemas.microsoft.com/office/drawing/2014/main" id="{C116395D-5550-4210-A61D-AD319FCA35A0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9" name="presentation_323252">
              <a:extLst>
                <a:ext uri="{FF2B5EF4-FFF2-40B4-BE49-F238E27FC236}">
                  <a16:creationId xmlns:a16="http://schemas.microsoft.com/office/drawing/2014/main" id="{699F664E-85E7-4AF2-8763-56DAEFDBB47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10" name="流程图: 过程 9">
            <a:extLst>
              <a:ext uri="{FF2B5EF4-FFF2-40B4-BE49-F238E27FC236}">
                <a16:creationId xmlns:a16="http://schemas.microsoft.com/office/drawing/2014/main" id="{F8DF99F5-F69B-4AA1-B02F-37FE99B664DA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1" name="流程图: 过程 10">
            <a:extLst>
              <a:ext uri="{FF2B5EF4-FFF2-40B4-BE49-F238E27FC236}">
                <a16:creationId xmlns:a16="http://schemas.microsoft.com/office/drawing/2014/main" id="{DB74053E-415E-43D8-A902-9CA399E699F9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B7C1C919-BCA0-4FB0-B964-905B5DAF068E}"/>
              </a:ext>
            </a:extLst>
          </p:cNvPr>
          <p:cNvGrpSpPr/>
          <p:nvPr/>
        </p:nvGrpSpPr>
        <p:grpSpPr>
          <a:xfrm>
            <a:off x="633548" y="1681028"/>
            <a:ext cx="3358243" cy="1801729"/>
            <a:chOff x="633548" y="1681028"/>
            <a:chExt cx="3358243" cy="1801729"/>
          </a:xfrm>
        </p:grpSpPr>
        <p:sp>
          <p:nvSpPr>
            <p:cNvPr id="2" name="矩形: 圆角 1">
              <a:extLst>
                <a:ext uri="{FF2B5EF4-FFF2-40B4-BE49-F238E27FC236}">
                  <a16:creationId xmlns:a16="http://schemas.microsoft.com/office/drawing/2014/main" id="{18FBF281-5977-4BF6-B1C6-98C96508D346}"/>
                </a:ext>
              </a:extLst>
            </p:cNvPr>
            <p:cNvSpPr/>
            <p:nvPr/>
          </p:nvSpPr>
          <p:spPr>
            <a:xfrm>
              <a:off x="633548" y="1681028"/>
              <a:ext cx="3358243" cy="1801729"/>
            </a:xfrm>
            <a:prstGeom prst="roundRect">
              <a:avLst>
                <a:gd name="adj" fmla="val 10323"/>
              </a:avLst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schedules_153393">
              <a:extLst>
                <a:ext uri="{FF2B5EF4-FFF2-40B4-BE49-F238E27FC236}">
                  <a16:creationId xmlns:a16="http://schemas.microsoft.com/office/drawing/2014/main" id="{8AB77B69-880E-4BAD-A2AE-2091313B50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8007" y="2229193"/>
              <a:ext cx="609685" cy="608617"/>
            </a:xfrm>
            <a:custGeom>
              <a:avLst/>
              <a:gdLst>
                <a:gd name="connsiteX0" fmla="*/ 356990 w 604110"/>
                <a:gd name="connsiteY0" fmla="*/ 438635 h 603052"/>
                <a:gd name="connsiteX1" fmla="*/ 466790 w 604110"/>
                <a:gd name="connsiteY1" fmla="*/ 438635 h 603052"/>
                <a:gd name="connsiteX2" fmla="*/ 494240 w 604110"/>
                <a:gd name="connsiteY2" fmla="*/ 466050 h 603052"/>
                <a:gd name="connsiteX3" fmla="*/ 466790 w 604110"/>
                <a:gd name="connsiteY3" fmla="*/ 493464 h 603052"/>
                <a:gd name="connsiteX4" fmla="*/ 356990 w 604110"/>
                <a:gd name="connsiteY4" fmla="*/ 493464 h 603052"/>
                <a:gd name="connsiteX5" fmla="*/ 329540 w 604110"/>
                <a:gd name="connsiteY5" fmla="*/ 466050 h 603052"/>
                <a:gd name="connsiteX6" fmla="*/ 356990 w 604110"/>
                <a:gd name="connsiteY6" fmla="*/ 438635 h 603052"/>
                <a:gd name="connsiteX7" fmla="*/ 137320 w 604110"/>
                <a:gd name="connsiteY7" fmla="*/ 438635 h 603052"/>
                <a:gd name="connsiteX8" fmla="*/ 247120 w 604110"/>
                <a:gd name="connsiteY8" fmla="*/ 438635 h 603052"/>
                <a:gd name="connsiteX9" fmla="*/ 274570 w 604110"/>
                <a:gd name="connsiteY9" fmla="*/ 466050 h 603052"/>
                <a:gd name="connsiteX10" fmla="*/ 247120 w 604110"/>
                <a:gd name="connsiteY10" fmla="*/ 493464 h 603052"/>
                <a:gd name="connsiteX11" fmla="*/ 137320 w 604110"/>
                <a:gd name="connsiteY11" fmla="*/ 493464 h 603052"/>
                <a:gd name="connsiteX12" fmla="*/ 109870 w 604110"/>
                <a:gd name="connsiteY12" fmla="*/ 466050 h 603052"/>
                <a:gd name="connsiteX13" fmla="*/ 137320 w 604110"/>
                <a:gd name="connsiteY13" fmla="*/ 438635 h 603052"/>
                <a:gd name="connsiteX14" fmla="*/ 356990 w 604110"/>
                <a:gd name="connsiteY14" fmla="*/ 328976 h 603052"/>
                <a:gd name="connsiteX15" fmla="*/ 466790 w 604110"/>
                <a:gd name="connsiteY15" fmla="*/ 328976 h 603052"/>
                <a:gd name="connsiteX16" fmla="*/ 494240 w 604110"/>
                <a:gd name="connsiteY16" fmla="*/ 356390 h 603052"/>
                <a:gd name="connsiteX17" fmla="*/ 466790 w 604110"/>
                <a:gd name="connsiteY17" fmla="*/ 383805 h 603052"/>
                <a:gd name="connsiteX18" fmla="*/ 356990 w 604110"/>
                <a:gd name="connsiteY18" fmla="*/ 383805 h 603052"/>
                <a:gd name="connsiteX19" fmla="*/ 329540 w 604110"/>
                <a:gd name="connsiteY19" fmla="*/ 356390 h 603052"/>
                <a:gd name="connsiteX20" fmla="*/ 356990 w 604110"/>
                <a:gd name="connsiteY20" fmla="*/ 328976 h 603052"/>
                <a:gd name="connsiteX21" fmla="*/ 137320 w 604110"/>
                <a:gd name="connsiteY21" fmla="*/ 328976 h 603052"/>
                <a:gd name="connsiteX22" fmla="*/ 247120 w 604110"/>
                <a:gd name="connsiteY22" fmla="*/ 328976 h 603052"/>
                <a:gd name="connsiteX23" fmla="*/ 274570 w 604110"/>
                <a:gd name="connsiteY23" fmla="*/ 356390 h 603052"/>
                <a:gd name="connsiteX24" fmla="*/ 247120 w 604110"/>
                <a:gd name="connsiteY24" fmla="*/ 383805 h 603052"/>
                <a:gd name="connsiteX25" fmla="*/ 137320 w 604110"/>
                <a:gd name="connsiteY25" fmla="*/ 383805 h 603052"/>
                <a:gd name="connsiteX26" fmla="*/ 109870 w 604110"/>
                <a:gd name="connsiteY26" fmla="*/ 356390 h 603052"/>
                <a:gd name="connsiteX27" fmla="*/ 137320 w 604110"/>
                <a:gd name="connsiteY27" fmla="*/ 328976 h 603052"/>
                <a:gd name="connsiteX28" fmla="*/ 356990 w 604110"/>
                <a:gd name="connsiteY28" fmla="*/ 219317 h 603052"/>
                <a:gd name="connsiteX29" fmla="*/ 466790 w 604110"/>
                <a:gd name="connsiteY29" fmla="*/ 219317 h 603052"/>
                <a:gd name="connsiteX30" fmla="*/ 494240 w 604110"/>
                <a:gd name="connsiteY30" fmla="*/ 246731 h 603052"/>
                <a:gd name="connsiteX31" fmla="*/ 466790 w 604110"/>
                <a:gd name="connsiteY31" fmla="*/ 274146 h 603052"/>
                <a:gd name="connsiteX32" fmla="*/ 356990 w 604110"/>
                <a:gd name="connsiteY32" fmla="*/ 274146 h 603052"/>
                <a:gd name="connsiteX33" fmla="*/ 329540 w 604110"/>
                <a:gd name="connsiteY33" fmla="*/ 246731 h 603052"/>
                <a:gd name="connsiteX34" fmla="*/ 356990 w 604110"/>
                <a:gd name="connsiteY34" fmla="*/ 219317 h 603052"/>
                <a:gd name="connsiteX35" fmla="*/ 137320 w 604110"/>
                <a:gd name="connsiteY35" fmla="*/ 219317 h 603052"/>
                <a:gd name="connsiteX36" fmla="*/ 247120 w 604110"/>
                <a:gd name="connsiteY36" fmla="*/ 219317 h 603052"/>
                <a:gd name="connsiteX37" fmla="*/ 274570 w 604110"/>
                <a:gd name="connsiteY37" fmla="*/ 246731 h 603052"/>
                <a:gd name="connsiteX38" fmla="*/ 247120 w 604110"/>
                <a:gd name="connsiteY38" fmla="*/ 274146 h 603052"/>
                <a:gd name="connsiteX39" fmla="*/ 137320 w 604110"/>
                <a:gd name="connsiteY39" fmla="*/ 274146 h 603052"/>
                <a:gd name="connsiteX40" fmla="*/ 109870 w 604110"/>
                <a:gd name="connsiteY40" fmla="*/ 246731 h 603052"/>
                <a:gd name="connsiteX41" fmla="*/ 137320 w 604110"/>
                <a:gd name="connsiteY41" fmla="*/ 219317 h 603052"/>
                <a:gd name="connsiteX42" fmla="*/ 54919 w 604110"/>
                <a:gd name="connsiteY42" fmla="*/ 164469 h 603052"/>
                <a:gd name="connsiteX43" fmla="*/ 54919 w 604110"/>
                <a:gd name="connsiteY43" fmla="*/ 548229 h 603052"/>
                <a:gd name="connsiteX44" fmla="*/ 549191 w 604110"/>
                <a:gd name="connsiteY44" fmla="*/ 548229 h 603052"/>
                <a:gd name="connsiteX45" fmla="*/ 549191 w 604110"/>
                <a:gd name="connsiteY45" fmla="*/ 164469 h 603052"/>
                <a:gd name="connsiteX46" fmla="*/ 137298 w 604110"/>
                <a:gd name="connsiteY46" fmla="*/ 0 h 603052"/>
                <a:gd name="connsiteX47" fmla="*/ 164758 w 604110"/>
                <a:gd name="connsiteY47" fmla="*/ 27411 h 603052"/>
                <a:gd name="connsiteX48" fmla="*/ 164758 w 604110"/>
                <a:gd name="connsiteY48" fmla="*/ 109646 h 603052"/>
                <a:gd name="connsiteX49" fmla="*/ 439353 w 604110"/>
                <a:gd name="connsiteY49" fmla="*/ 109646 h 603052"/>
                <a:gd name="connsiteX50" fmla="*/ 439353 w 604110"/>
                <a:gd name="connsiteY50" fmla="*/ 27411 h 603052"/>
                <a:gd name="connsiteX51" fmla="*/ 466813 w 604110"/>
                <a:gd name="connsiteY51" fmla="*/ 0 h 603052"/>
                <a:gd name="connsiteX52" fmla="*/ 494272 w 604110"/>
                <a:gd name="connsiteY52" fmla="*/ 27411 h 603052"/>
                <a:gd name="connsiteX53" fmla="*/ 494272 w 604110"/>
                <a:gd name="connsiteY53" fmla="*/ 109646 h 603052"/>
                <a:gd name="connsiteX54" fmla="*/ 576651 w 604110"/>
                <a:gd name="connsiteY54" fmla="*/ 109646 h 603052"/>
                <a:gd name="connsiteX55" fmla="*/ 596010 w 604110"/>
                <a:gd name="connsiteY55" fmla="*/ 117595 h 603052"/>
                <a:gd name="connsiteX56" fmla="*/ 604110 w 604110"/>
                <a:gd name="connsiteY56" fmla="*/ 137057 h 603052"/>
                <a:gd name="connsiteX57" fmla="*/ 604110 w 604110"/>
                <a:gd name="connsiteY57" fmla="*/ 575641 h 603052"/>
                <a:gd name="connsiteX58" fmla="*/ 576651 w 604110"/>
                <a:gd name="connsiteY58" fmla="*/ 603052 h 603052"/>
                <a:gd name="connsiteX59" fmla="*/ 27459 w 604110"/>
                <a:gd name="connsiteY59" fmla="*/ 603052 h 603052"/>
                <a:gd name="connsiteX60" fmla="*/ 0 w 604110"/>
                <a:gd name="connsiteY60" fmla="*/ 575641 h 603052"/>
                <a:gd name="connsiteX61" fmla="*/ 0 w 604110"/>
                <a:gd name="connsiteY61" fmla="*/ 137057 h 603052"/>
                <a:gd name="connsiteX62" fmla="*/ 27459 w 604110"/>
                <a:gd name="connsiteY62" fmla="*/ 109646 h 603052"/>
                <a:gd name="connsiteX63" fmla="*/ 109838 w 604110"/>
                <a:gd name="connsiteY63" fmla="*/ 109646 h 603052"/>
                <a:gd name="connsiteX64" fmla="*/ 109838 w 604110"/>
                <a:gd name="connsiteY64" fmla="*/ 27411 h 603052"/>
                <a:gd name="connsiteX65" fmla="*/ 137298 w 604110"/>
                <a:gd name="connsiteY65" fmla="*/ 0 h 6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04110" h="603052">
                  <a:moveTo>
                    <a:pt x="356990" y="438635"/>
                  </a:moveTo>
                  <a:lnTo>
                    <a:pt x="466790" y="438635"/>
                  </a:lnTo>
                  <a:cubicBezTo>
                    <a:pt x="481888" y="438635"/>
                    <a:pt x="494240" y="450972"/>
                    <a:pt x="494240" y="466050"/>
                  </a:cubicBezTo>
                  <a:cubicBezTo>
                    <a:pt x="494240" y="481265"/>
                    <a:pt x="481888" y="493464"/>
                    <a:pt x="466790" y="493464"/>
                  </a:cubicBezTo>
                  <a:lnTo>
                    <a:pt x="356990" y="493464"/>
                  </a:lnTo>
                  <a:cubicBezTo>
                    <a:pt x="341893" y="493464"/>
                    <a:pt x="329540" y="481265"/>
                    <a:pt x="329540" y="466050"/>
                  </a:cubicBezTo>
                  <a:cubicBezTo>
                    <a:pt x="329540" y="450972"/>
                    <a:pt x="341893" y="438635"/>
                    <a:pt x="356990" y="438635"/>
                  </a:cubicBezTo>
                  <a:close/>
                  <a:moveTo>
                    <a:pt x="137320" y="438635"/>
                  </a:moveTo>
                  <a:lnTo>
                    <a:pt x="247120" y="438635"/>
                  </a:lnTo>
                  <a:cubicBezTo>
                    <a:pt x="262218" y="438635"/>
                    <a:pt x="274570" y="450972"/>
                    <a:pt x="274570" y="466050"/>
                  </a:cubicBezTo>
                  <a:cubicBezTo>
                    <a:pt x="274570" y="481265"/>
                    <a:pt x="262218" y="493464"/>
                    <a:pt x="247120" y="493464"/>
                  </a:cubicBezTo>
                  <a:lnTo>
                    <a:pt x="137320" y="493464"/>
                  </a:lnTo>
                  <a:cubicBezTo>
                    <a:pt x="122223" y="493464"/>
                    <a:pt x="109870" y="481265"/>
                    <a:pt x="109870" y="466050"/>
                  </a:cubicBezTo>
                  <a:cubicBezTo>
                    <a:pt x="109870" y="450972"/>
                    <a:pt x="122223" y="438635"/>
                    <a:pt x="137320" y="438635"/>
                  </a:cubicBezTo>
                  <a:close/>
                  <a:moveTo>
                    <a:pt x="356990" y="328976"/>
                  </a:moveTo>
                  <a:lnTo>
                    <a:pt x="466790" y="328976"/>
                  </a:lnTo>
                  <a:cubicBezTo>
                    <a:pt x="481888" y="328976"/>
                    <a:pt x="494240" y="341312"/>
                    <a:pt x="494240" y="356390"/>
                  </a:cubicBezTo>
                  <a:cubicBezTo>
                    <a:pt x="494240" y="371605"/>
                    <a:pt x="481888" y="383805"/>
                    <a:pt x="466790" y="383805"/>
                  </a:cubicBezTo>
                  <a:lnTo>
                    <a:pt x="356990" y="383805"/>
                  </a:lnTo>
                  <a:cubicBezTo>
                    <a:pt x="341893" y="383805"/>
                    <a:pt x="329540" y="371605"/>
                    <a:pt x="329540" y="356390"/>
                  </a:cubicBezTo>
                  <a:cubicBezTo>
                    <a:pt x="329540" y="341312"/>
                    <a:pt x="341893" y="328976"/>
                    <a:pt x="356990" y="328976"/>
                  </a:cubicBezTo>
                  <a:close/>
                  <a:moveTo>
                    <a:pt x="137320" y="328976"/>
                  </a:moveTo>
                  <a:lnTo>
                    <a:pt x="247120" y="328976"/>
                  </a:lnTo>
                  <a:cubicBezTo>
                    <a:pt x="262218" y="328976"/>
                    <a:pt x="274570" y="341312"/>
                    <a:pt x="274570" y="356390"/>
                  </a:cubicBezTo>
                  <a:cubicBezTo>
                    <a:pt x="274570" y="371605"/>
                    <a:pt x="262218" y="383805"/>
                    <a:pt x="247120" y="383805"/>
                  </a:cubicBezTo>
                  <a:lnTo>
                    <a:pt x="137320" y="383805"/>
                  </a:lnTo>
                  <a:cubicBezTo>
                    <a:pt x="122223" y="383805"/>
                    <a:pt x="109870" y="371605"/>
                    <a:pt x="109870" y="356390"/>
                  </a:cubicBezTo>
                  <a:cubicBezTo>
                    <a:pt x="109870" y="341312"/>
                    <a:pt x="122223" y="328976"/>
                    <a:pt x="137320" y="328976"/>
                  </a:cubicBezTo>
                  <a:close/>
                  <a:moveTo>
                    <a:pt x="356990" y="219317"/>
                  </a:moveTo>
                  <a:lnTo>
                    <a:pt x="466790" y="219317"/>
                  </a:lnTo>
                  <a:cubicBezTo>
                    <a:pt x="481888" y="219317"/>
                    <a:pt x="494240" y="231653"/>
                    <a:pt x="494240" y="246731"/>
                  </a:cubicBezTo>
                  <a:cubicBezTo>
                    <a:pt x="494240" y="261946"/>
                    <a:pt x="481888" y="274146"/>
                    <a:pt x="466790" y="274146"/>
                  </a:cubicBezTo>
                  <a:lnTo>
                    <a:pt x="356990" y="274146"/>
                  </a:lnTo>
                  <a:cubicBezTo>
                    <a:pt x="341893" y="274146"/>
                    <a:pt x="329540" y="261946"/>
                    <a:pt x="329540" y="246731"/>
                  </a:cubicBezTo>
                  <a:cubicBezTo>
                    <a:pt x="329540" y="231653"/>
                    <a:pt x="341893" y="219317"/>
                    <a:pt x="356990" y="219317"/>
                  </a:cubicBezTo>
                  <a:close/>
                  <a:moveTo>
                    <a:pt x="137320" y="219317"/>
                  </a:moveTo>
                  <a:lnTo>
                    <a:pt x="247120" y="219317"/>
                  </a:lnTo>
                  <a:cubicBezTo>
                    <a:pt x="262218" y="219317"/>
                    <a:pt x="274570" y="231653"/>
                    <a:pt x="274570" y="246731"/>
                  </a:cubicBezTo>
                  <a:cubicBezTo>
                    <a:pt x="274570" y="261946"/>
                    <a:pt x="262218" y="274146"/>
                    <a:pt x="247120" y="274146"/>
                  </a:cubicBezTo>
                  <a:lnTo>
                    <a:pt x="137320" y="274146"/>
                  </a:lnTo>
                  <a:cubicBezTo>
                    <a:pt x="122223" y="274146"/>
                    <a:pt x="109870" y="261946"/>
                    <a:pt x="109870" y="246731"/>
                  </a:cubicBezTo>
                  <a:cubicBezTo>
                    <a:pt x="109870" y="231653"/>
                    <a:pt x="122223" y="219317"/>
                    <a:pt x="137320" y="219317"/>
                  </a:cubicBezTo>
                  <a:close/>
                  <a:moveTo>
                    <a:pt x="54919" y="164469"/>
                  </a:moveTo>
                  <a:lnTo>
                    <a:pt x="54919" y="548229"/>
                  </a:lnTo>
                  <a:lnTo>
                    <a:pt x="549191" y="548229"/>
                  </a:lnTo>
                  <a:lnTo>
                    <a:pt x="549191" y="164469"/>
                  </a:lnTo>
                  <a:close/>
                  <a:moveTo>
                    <a:pt x="137298" y="0"/>
                  </a:moveTo>
                  <a:cubicBezTo>
                    <a:pt x="152401" y="0"/>
                    <a:pt x="164758" y="12335"/>
                    <a:pt x="164758" y="27411"/>
                  </a:cubicBezTo>
                  <a:lnTo>
                    <a:pt x="164758" y="109646"/>
                  </a:lnTo>
                  <a:lnTo>
                    <a:pt x="439353" y="109646"/>
                  </a:lnTo>
                  <a:lnTo>
                    <a:pt x="439353" y="27411"/>
                  </a:lnTo>
                  <a:cubicBezTo>
                    <a:pt x="439353" y="12335"/>
                    <a:pt x="451710" y="0"/>
                    <a:pt x="466813" y="0"/>
                  </a:cubicBezTo>
                  <a:cubicBezTo>
                    <a:pt x="481915" y="0"/>
                    <a:pt x="494272" y="12335"/>
                    <a:pt x="494272" y="27411"/>
                  </a:cubicBezTo>
                  <a:lnTo>
                    <a:pt x="494272" y="109646"/>
                  </a:lnTo>
                  <a:lnTo>
                    <a:pt x="576651" y="109646"/>
                  </a:lnTo>
                  <a:cubicBezTo>
                    <a:pt x="583927" y="109646"/>
                    <a:pt x="590930" y="112524"/>
                    <a:pt x="596010" y="117595"/>
                  </a:cubicBezTo>
                  <a:cubicBezTo>
                    <a:pt x="601227" y="122803"/>
                    <a:pt x="604110" y="129793"/>
                    <a:pt x="604110" y="137057"/>
                  </a:cubicBezTo>
                  <a:lnTo>
                    <a:pt x="604110" y="575641"/>
                  </a:lnTo>
                  <a:cubicBezTo>
                    <a:pt x="604110" y="590717"/>
                    <a:pt x="591753" y="603052"/>
                    <a:pt x="576651" y="603052"/>
                  </a:cubicBezTo>
                  <a:lnTo>
                    <a:pt x="27459" y="603052"/>
                  </a:lnTo>
                  <a:cubicBezTo>
                    <a:pt x="12357" y="603052"/>
                    <a:pt x="0" y="590717"/>
                    <a:pt x="0" y="575641"/>
                  </a:cubicBezTo>
                  <a:lnTo>
                    <a:pt x="0" y="137057"/>
                  </a:lnTo>
                  <a:cubicBezTo>
                    <a:pt x="0" y="121981"/>
                    <a:pt x="12357" y="109646"/>
                    <a:pt x="27459" y="109646"/>
                  </a:cubicBezTo>
                  <a:lnTo>
                    <a:pt x="109838" y="109646"/>
                  </a:lnTo>
                  <a:lnTo>
                    <a:pt x="109838" y="27411"/>
                  </a:lnTo>
                  <a:cubicBezTo>
                    <a:pt x="109838" y="12335"/>
                    <a:pt x="122195" y="0"/>
                    <a:pt x="13729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C8AADCF6-4440-4E34-B6CB-9E671126EDE3}"/>
                </a:ext>
              </a:extLst>
            </p:cNvPr>
            <p:cNvSpPr txBox="1"/>
            <p:nvPr/>
          </p:nvSpPr>
          <p:spPr>
            <a:xfrm>
              <a:off x="2018970" y="2119585"/>
              <a:ext cx="14859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400" dirty="0">
                  <a:solidFill>
                    <a:schemeClr val="bg1"/>
                  </a:solidFill>
                </a:rPr>
                <a:t>赛事时间</a:t>
              </a: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6927FC3F-00FC-4B83-8F85-B5EBA738CF1C}"/>
                </a:ext>
              </a:extLst>
            </p:cNvPr>
            <p:cNvSpPr txBox="1"/>
            <p:nvPr/>
          </p:nvSpPr>
          <p:spPr>
            <a:xfrm>
              <a:off x="2018970" y="2653144"/>
              <a:ext cx="1485900" cy="3774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bg1"/>
                  </a:solidFill>
                </a:rPr>
                <a:t>拟定</a:t>
              </a:r>
              <a:r>
                <a:rPr lang="en-US" altLang="zh-CN" sz="1400" dirty="0">
                  <a:solidFill>
                    <a:schemeClr val="bg1"/>
                  </a:solidFill>
                </a:rPr>
                <a:t>11</a:t>
              </a:r>
              <a:r>
                <a:rPr lang="zh-CN" altLang="en-US" sz="1400" dirty="0">
                  <a:solidFill>
                    <a:schemeClr val="bg1"/>
                  </a:solidFill>
                </a:rPr>
                <a:t>月</a:t>
              </a: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0E2AE95F-B39F-41F9-B3C3-75F426F673AC}"/>
              </a:ext>
            </a:extLst>
          </p:cNvPr>
          <p:cNvGrpSpPr/>
          <p:nvPr/>
        </p:nvGrpSpPr>
        <p:grpSpPr>
          <a:xfrm>
            <a:off x="4416878" y="1681028"/>
            <a:ext cx="3358243" cy="1801729"/>
            <a:chOff x="4416878" y="1681028"/>
            <a:chExt cx="3358243" cy="1801729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0CD662DB-D692-4FAF-B805-6C50AC4B1E21}"/>
                </a:ext>
              </a:extLst>
            </p:cNvPr>
            <p:cNvSpPr/>
            <p:nvPr/>
          </p:nvSpPr>
          <p:spPr>
            <a:xfrm>
              <a:off x="4416878" y="1681028"/>
              <a:ext cx="3358243" cy="1801729"/>
            </a:xfrm>
            <a:prstGeom prst="roundRect">
              <a:avLst>
                <a:gd name="adj" fmla="val 10323"/>
              </a:avLst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pointer-spot-tool-for-maps_40028">
              <a:extLst>
                <a:ext uri="{FF2B5EF4-FFF2-40B4-BE49-F238E27FC236}">
                  <a16:creationId xmlns:a16="http://schemas.microsoft.com/office/drawing/2014/main" id="{39347FCA-D4E9-47DF-81A6-9C645EC368A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54995" y="2229193"/>
              <a:ext cx="556030" cy="609685"/>
            </a:xfrm>
            <a:custGeom>
              <a:avLst/>
              <a:gdLst>
                <a:gd name="connsiteX0" fmla="*/ 130776 w 510187"/>
                <a:gd name="connsiteY0" fmla="*/ 398252 h 559418"/>
                <a:gd name="connsiteX1" fmla="*/ 180826 w 510187"/>
                <a:gd name="connsiteY1" fmla="*/ 398252 h 559418"/>
                <a:gd name="connsiteX2" fmla="*/ 195356 w 510187"/>
                <a:gd name="connsiteY2" fmla="*/ 420815 h 559418"/>
                <a:gd name="connsiteX3" fmla="*/ 140463 w 510187"/>
                <a:gd name="connsiteY3" fmla="*/ 420815 h 559418"/>
                <a:gd name="connsiteX4" fmla="*/ 48435 w 510187"/>
                <a:gd name="connsiteY4" fmla="*/ 535243 h 559418"/>
                <a:gd name="connsiteX5" fmla="*/ 461752 w 510187"/>
                <a:gd name="connsiteY5" fmla="*/ 535243 h 559418"/>
                <a:gd name="connsiteX6" fmla="*/ 369724 w 510187"/>
                <a:gd name="connsiteY6" fmla="*/ 420815 h 559418"/>
                <a:gd name="connsiteX7" fmla="*/ 316445 w 510187"/>
                <a:gd name="connsiteY7" fmla="*/ 420815 h 559418"/>
                <a:gd name="connsiteX8" fmla="*/ 329361 w 510187"/>
                <a:gd name="connsiteY8" fmla="*/ 398252 h 559418"/>
                <a:gd name="connsiteX9" fmla="*/ 381026 w 510187"/>
                <a:gd name="connsiteY9" fmla="*/ 398252 h 559418"/>
                <a:gd name="connsiteX10" fmla="*/ 510187 w 510187"/>
                <a:gd name="connsiteY10" fmla="*/ 559418 h 559418"/>
                <a:gd name="connsiteX11" fmla="*/ 0 w 510187"/>
                <a:gd name="connsiteY11" fmla="*/ 559418 h 559418"/>
                <a:gd name="connsiteX12" fmla="*/ 254964 w 510187"/>
                <a:gd name="connsiteY12" fmla="*/ 79000 h 559418"/>
                <a:gd name="connsiteX13" fmla="*/ 175836 w 510187"/>
                <a:gd name="connsiteY13" fmla="*/ 159612 h 559418"/>
                <a:gd name="connsiteX14" fmla="*/ 254964 w 510187"/>
                <a:gd name="connsiteY14" fmla="*/ 238611 h 559418"/>
                <a:gd name="connsiteX15" fmla="*/ 335706 w 510187"/>
                <a:gd name="connsiteY15" fmla="*/ 159612 h 559418"/>
                <a:gd name="connsiteX16" fmla="*/ 254964 w 510187"/>
                <a:gd name="connsiteY16" fmla="*/ 79000 h 559418"/>
                <a:gd name="connsiteX17" fmla="*/ 254964 w 510187"/>
                <a:gd name="connsiteY17" fmla="*/ 0 h 559418"/>
                <a:gd name="connsiteX18" fmla="*/ 414834 w 510187"/>
                <a:gd name="connsiteY18" fmla="*/ 159612 h 559418"/>
                <a:gd name="connsiteX19" fmla="*/ 254964 w 510187"/>
                <a:gd name="connsiteY19" fmla="*/ 478835 h 559418"/>
                <a:gd name="connsiteX20" fmla="*/ 95093 w 510187"/>
                <a:gd name="connsiteY20" fmla="*/ 159612 h 559418"/>
                <a:gd name="connsiteX21" fmla="*/ 254964 w 510187"/>
                <a:gd name="connsiteY21" fmla="*/ 0 h 5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10187" h="559418">
                  <a:moveTo>
                    <a:pt x="130776" y="398252"/>
                  </a:moveTo>
                  <a:lnTo>
                    <a:pt x="180826" y="398252"/>
                  </a:lnTo>
                  <a:cubicBezTo>
                    <a:pt x="185669" y="404699"/>
                    <a:pt x="190513" y="412757"/>
                    <a:pt x="195356" y="420815"/>
                  </a:cubicBezTo>
                  <a:lnTo>
                    <a:pt x="140463" y="420815"/>
                  </a:lnTo>
                  <a:lnTo>
                    <a:pt x="48435" y="535243"/>
                  </a:lnTo>
                  <a:lnTo>
                    <a:pt x="461752" y="535243"/>
                  </a:lnTo>
                  <a:lnTo>
                    <a:pt x="369724" y="420815"/>
                  </a:lnTo>
                  <a:lnTo>
                    <a:pt x="316445" y="420815"/>
                  </a:lnTo>
                  <a:cubicBezTo>
                    <a:pt x="319674" y="412757"/>
                    <a:pt x="324518" y="404699"/>
                    <a:pt x="329361" y="398252"/>
                  </a:cubicBezTo>
                  <a:lnTo>
                    <a:pt x="381026" y="398252"/>
                  </a:lnTo>
                  <a:lnTo>
                    <a:pt x="510187" y="559418"/>
                  </a:lnTo>
                  <a:lnTo>
                    <a:pt x="0" y="559418"/>
                  </a:lnTo>
                  <a:close/>
                  <a:moveTo>
                    <a:pt x="254964" y="79000"/>
                  </a:moveTo>
                  <a:cubicBezTo>
                    <a:pt x="211363" y="79000"/>
                    <a:pt x="175836" y="116081"/>
                    <a:pt x="175836" y="159612"/>
                  </a:cubicBezTo>
                  <a:cubicBezTo>
                    <a:pt x="175836" y="203142"/>
                    <a:pt x="211363" y="238611"/>
                    <a:pt x="254964" y="238611"/>
                  </a:cubicBezTo>
                  <a:cubicBezTo>
                    <a:pt x="300179" y="238611"/>
                    <a:pt x="335706" y="203142"/>
                    <a:pt x="335706" y="159612"/>
                  </a:cubicBezTo>
                  <a:cubicBezTo>
                    <a:pt x="335706" y="116081"/>
                    <a:pt x="300179" y="79000"/>
                    <a:pt x="254964" y="79000"/>
                  </a:cubicBezTo>
                  <a:close/>
                  <a:moveTo>
                    <a:pt x="254964" y="0"/>
                  </a:moveTo>
                  <a:cubicBezTo>
                    <a:pt x="343781" y="0"/>
                    <a:pt x="414834" y="70939"/>
                    <a:pt x="414834" y="159612"/>
                  </a:cubicBezTo>
                  <a:cubicBezTo>
                    <a:pt x="414834" y="246673"/>
                    <a:pt x="254964" y="478835"/>
                    <a:pt x="254964" y="478835"/>
                  </a:cubicBezTo>
                  <a:cubicBezTo>
                    <a:pt x="254964" y="478835"/>
                    <a:pt x="95093" y="246673"/>
                    <a:pt x="95093" y="159612"/>
                  </a:cubicBezTo>
                  <a:cubicBezTo>
                    <a:pt x="95093" y="70939"/>
                    <a:pt x="167761" y="0"/>
                    <a:pt x="25496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13D03BFB-AF83-4688-8BB7-4F0683CB3697}"/>
                </a:ext>
              </a:extLst>
            </p:cNvPr>
            <p:cNvSpPr txBox="1"/>
            <p:nvPr/>
          </p:nvSpPr>
          <p:spPr>
            <a:xfrm>
              <a:off x="5800123" y="1719535"/>
              <a:ext cx="14859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400" dirty="0">
                  <a:solidFill>
                    <a:schemeClr val="bg1"/>
                  </a:solidFill>
                </a:rPr>
                <a:t>赛事地点</a:t>
              </a: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6933459A-6075-433F-965D-97DC5E3D632B}"/>
                </a:ext>
              </a:extLst>
            </p:cNvPr>
            <p:cNvSpPr txBox="1"/>
            <p:nvPr/>
          </p:nvSpPr>
          <p:spPr>
            <a:xfrm>
              <a:off x="5554980" y="2253094"/>
              <a:ext cx="2034539" cy="1023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bg1"/>
                  </a:solidFill>
                </a:rPr>
                <a:t>XX</a:t>
              </a:r>
              <a:r>
                <a:rPr lang="zh-CN" altLang="en-US" sz="1400" dirty="0">
                  <a:solidFill>
                    <a:schemeClr val="bg1"/>
                  </a:solidFill>
                </a:rPr>
                <a:t>本岛，主会场体育中心，可设</a:t>
              </a:r>
              <a:r>
                <a:rPr lang="en-US" altLang="zh-CN" sz="1400" dirty="0">
                  <a:solidFill>
                    <a:schemeClr val="bg1"/>
                  </a:solidFill>
                </a:rPr>
                <a:t>2-3</a:t>
              </a:r>
              <a:r>
                <a:rPr lang="zh-CN" altLang="en-US" sz="1400" dirty="0">
                  <a:solidFill>
                    <a:schemeClr val="bg1"/>
                  </a:solidFill>
                </a:rPr>
                <a:t>个分会场，各分会场联动赛事</a:t>
              </a:r>
            </a:p>
          </p:txBody>
        </p:sp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7497F2EB-AF22-4D2B-9794-209D471CE627}"/>
              </a:ext>
            </a:extLst>
          </p:cNvPr>
          <p:cNvGrpSpPr/>
          <p:nvPr/>
        </p:nvGrpSpPr>
        <p:grpSpPr>
          <a:xfrm>
            <a:off x="8200208" y="1718942"/>
            <a:ext cx="3358243" cy="1801729"/>
            <a:chOff x="8200208" y="1718942"/>
            <a:chExt cx="3358243" cy="1801729"/>
          </a:xfrm>
        </p:grpSpPr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50206F6E-FF3C-43BF-9DAC-811CF7E555EC}"/>
                </a:ext>
              </a:extLst>
            </p:cNvPr>
            <p:cNvSpPr/>
            <p:nvPr/>
          </p:nvSpPr>
          <p:spPr>
            <a:xfrm>
              <a:off x="8200208" y="1718942"/>
              <a:ext cx="3358243" cy="1801729"/>
            </a:xfrm>
            <a:prstGeom prst="roundRect">
              <a:avLst>
                <a:gd name="adj" fmla="val 10323"/>
              </a:avLst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sand-clock_66179">
              <a:extLst>
                <a:ext uri="{FF2B5EF4-FFF2-40B4-BE49-F238E27FC236}">
                  <a16:creationId xmlns:a16="http://schemas.microsoft.com/office/drawing/2014/main" id="{4000A6FB-5B71-4359-B3D3-CA14C67DC9E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77829" y="2229193"/>
              <a:ext cx="429339" cy="609685"/>
            </a:xfrm>
            <a:custGeom>
              <a:avLst/>
              <a:gdLst>
                <a:gd name="connsiteX0" fmla="*/ 213121 w 427203"/>
                <a:gd name="connsiteY0" fmla="*/ 384017 h 606651"/>
                <a:gd name="connsiteX1" fmla="*/ 347383 w 427203"/>
                <a:gd name="connsiteY1" fmla="*/ 461151 h 606651"/>
                <a:gd name="connsiteX2" fmla="*/ 351332 w 427203"/>
                <a:gd name="connsiteY2" fmla="*/ 468942 h 606651"/>
                <a:gd name="connsiteX3" fmla="*/ 351332 w 427203"/>
                <a:gd name="connsiteY3" fmla="*/ 517703 h 606651"/>
                <a:gd name="connsiteX4" fmla="*/ 346517 w 427203"/>
                <a:gd name="connsiteY4" fmla="*/ 522416 h 606651"/>
                <a:gd name="connsiteX5" fmla="*/ 213121 w 427203"/>
                <a:gd name="connsiteY5" fmla="*/ 522608 h 606651"/>
                <a:gd name="connsiteX6" fmla="*/ 79629 w 427203"/>
                <a:gd name="connsiteY6" fmla="*/ 522416 h 606651"/>
                <a:gd name="connsiteX7" fmla="*/ 74813 w 427203"/>
                <a:gd name="connsiteY7" fmla="*/ 517703 h 606651"/>
                <a:gd name="connsiteX8" fmla="*/ 74813 w 427203"/>
                <a:gd name="connsiteY8" fmla="*/ 468942 h 606651"/>
                <a:gd name="connsiteX9" fmla="*/ 78762 w 427203"/>
                <a:gd name="connsiteY9" fmla="*/ 461151 h 606651"/>
                <a:gd name="connsiteX10" fmla="*/ 213121 w 427203"/>
                <a:gd name="connsiteY10" fmla="*/ 384017 h 606651"/>
                <a:gd name="connsiteX11" fmla="*/ 60864 w 427203"/>
                <a:gd name="connsiteY11" fmla="*/ 70301 h 606651"/>
                <a:gd name="connsiteX12" fmla="*/ 60864 w 427203"/>
                <a:gd name="connsiteY12" fmla="*/ 163972 h 606651"/>
                <a:gd name="connsiteX13" fmla="*/ 64620 w 427203"/>
                <a:gd name="connsiteY13" fmla="*/ 189362 h 606651"/>
                <a:gd name="connsiteX14" fmla="*/ 80029 w 427203"/>
                <a:gd name="connsiteY14" fmla="*/ 200902 h 606651"/>
                <a:gd name="connsiteX15" fmla="*/ 192800 w 427203"/>
                <a:gd name="connsiteY15" fmla="*/ 269473 h 606651"/>
                <a:gd name="connsiteX16" fmla="*/ 201853 w 427203"/>
                <a:gd name="connsiteY16" fmla="*/ 285630 h 606651"/>
                <a:gd name="connsiteX17" fmla="*/ 201853 w 427203"/>
                <a:gd name="connsiteY17" fmla="*/ 333812 h 606651"/>
                <a:gd name="connsiteX18" fmla="*/ 192704 w 427203"/>
                <a:gd name="connsiteY18" fmla="*/ 349969 h 606651"/>
                <a:gd name="connsiteX19" fmla="*/ 82436 w 427203"/>
                <a:gd name="connsiteY19" fmla="*/ 417001 h 606651"/>
                <a:gd name="connsiteX20" fmla="*/ 60864 w 427203"/>
                <a:gd name="connsiteY20" fmla="*/ 457104 h 606651"/>
                <a:gd name="connsiteX21" fmla="*/ 60864 w 427203"/>
                <a:gd name="connsiteY21" fmla="*/ 536254 h 606651"/>
                <a:gd name="connsiteX22" fmla="*/ 366339 w 427203"/>
                <a:gd name="connsiteY22" fmla="*/ 536254 h 606651"/>
                <a:gd name="connsiteX23" fmla="*/ 366339 w 427203"/>
                <a:gd name="connsiteY23" fmla="*/ 455373 h 606651"/>
                <a:gd name="connsiteX24" fmla="*/ 362487 w 427203"/>
                <a:gd name="connsiteY24" fmla="*/ 429984 h 606651"/>
                <a:gd name="connsiteX25" fmla="*/ 347079 w 427203"/>
                <a:gd name="connsiteY25" fmla="*/ 418443 h 606651"/>
                <a:gd name="connsiteX26" fmla="*/ 234403 w 427203"/>
                <a:gd name="connsiteY26" fmla="*/ 349872 h 606651"/>
                <a:gd name="connsiteX27" fmla="*/ 225351 w 427203"/>
                <a:gd name="connsiteY27" fmla="*/ 333812 h 606651"/>
                <a:gd name="connsiteX28" fmla="*/ 225351 w 427203"/>
                <a:gd name="connsiteY28" fmla="*/ 285630 h 606651"/>
                <a:gd name="connsiteX29" fmla="*/ 234500 w 427203"/>
                <a:gd name="connsiteY29" fmla="*/ 269473 h 606651"/>
                <a:gd name="connsiteX30" fmla="*/ 344767 w 427203"/>
                <a:gd name="connsiteY30" fmla="*/ 202441 h 606651"/>
                <a:gd name="connsiteX31" fmla="*/ 366339 w 427203"/>
                <a:gd name="connsiteY31" fmla="*/ 162338 h 606651"/>
                <a:gd name="connsiteX32" fmla="*/ 366339 w 427203"/>
                <a:gd name="connsiteY32" fmla="*/ 70301 h 606651"/>
                <a:gd name="connsiteX33" fmla="*/ 10497 w 427203"/>
                <a:gd name="connsiteY33" fmla="*/ 0 h 606651"/>
                <a:gd name="connsiteX34" fmla="*/ 416706 w 427203"/>
                <a:gd name="connsiteY34" fmla="*/ 0 h 606651"/>
                <a:gd name="connsiteX35" fmla="*/ 427203 w 427203"/>
                <a:gd name="connsiteY35" fmla="*/ 10482 h 606651"/>
                <a:gd name="connsiteX36" fmla="*/ 427203 w 427203"/>
                <a:gd name="connsiteY36" fmla="*/ 59819 h 606651"/>
                <a:gd name="connsiteX37" fmla="*/ 416706 w 427203"/>
                <a:gd name="connsiteY37" fmla="*/ 70301 h 606651"/>
                <a:gd name="connsiteX38" fmla="*/ 404090 w 427203"/>
                <a:gd name="connsiteY38" fmla="*/ 70301 h 606651"/>
                <a:gd name="connsiteX39" fmla="*/ 404090 w 427203"/>
                <a:gd name="connsiteY39" fmla="*/ 162338 h 606651"/>
                <a:gd name="connsiteX40" fmla="*/ 366339 w 427203"/>
                <a:gd name="connsiteY40" fmla="*/ 233312 h 606651"/>
                <a:gd name="connsiteX41" fmla="*/ 263102 w 427203"/>
                <a:gd name="connsiteY41" fmla="*/ 296305 h 606651"/>
                <a:gd name="connsiteX42" fmla="*/ 263102 w 427203"/>
                <a:gd name="connsiteY42" fmla="*/ 323233 h 606651"/>
                <a:gd name="connsiteX43" fmla="*/ 366725 w 427203"/>
                <a:gd name="connsiteY43" fmla="*/ 386322 h 606651"/>
                <a:gd name="connsiteX44" fmla="*/ 404090 w 427203"/>
                <a:gd name="connsiteY44" fmla="*/ 455373 h 606651"/>
                <a:gd name="connsiteX45" fmla="*/ 404090 w 427203"/>
                <a:gd name="connsiteY45" fmla="*/ 536254 h 606651"/>
                <a:gd name="connsiteX46" fmla="*/ 416706 w 427203"/>
                <a:gd name="connsiteY46" fmla="*/ 536254 h 606651"/>
                <a:gd name="connsiteX47" fmla="*/ 427203 w 427203"/>
                <a:gd name="connsiteY47" fmla="*/ 546736 h 606651"/>
                <a:gd name="connsiteX48" fmla="*/ 427203 w 427203"/>
                <a:gd name="connsiteY48" fmla="*/ 596169 h 606651"/>
                <a:gd name="connsiteX49" fmla="*/ 416706 w 427203"/>
                <a:gd name="connsiteY49" fmla="*/ 606651 h 606651"/>
                <a:gd name="connsiteX50" fmla="*/ 10497 w 427203"/>
                <a:gd name="connsiteY50" fmla="*/ 606651 h 606651"/>
                <a:gd name="connsiteX51" fmla="*/ 0 w 427203"/>
                <a:gd name="connsiteY51" fmla="*/ 596169 h 606651"/>
                <a:gd name="connsiteX52" fmla="*/ 0 w 427203"/>
                <a:gd name="connsiteY52" fmla="*/ 546736 h 606651"/>
                <a:gd name="connsiteX53" fmla="*/ 10497 w 427203"/>
                <a:gd name="connsiteY53" fmla="*/ 536254 h 606651"/>
                <a:gd name="connsiteX54" fmla="*/ 23113 w 427203"/>
                <a:gd name="connsiteY54" fmla="*/ 536254 h 606651"/>
                <a:gd name="connsiteX55" fmla="*/ 23113 w 427203"/>
                <a:gd name="connsiteY55" fmla="*/ 457104 h 606651"/>
                <a:gd name="connsiteX56" fmla="*/ 60767 w 427203"/>
                <a:gd name="connsiteY56" fmla="*/ 386130 h 606651"/>
                <a:gd name="connsiteX57" fmla="*/ 164102 w 427203"/>
                <a:gd name="connsiteY57" fmla="*/ 323137 h 606651"/>
                <a:gd name="connsiteX58" fmla="*/ 164102 w 427203"/>
                <a:gd name="connsiteY58" fmla="*/ 296209 h 606651"/>
                <a:gd name="connsiteX59" fmla="*/ 60382 w 427203"/>
                <a:gd name="connsiteY59" fmla="*/ 233120 h 606651"/>
                <a:gd name="connsiteX60" fmla="*/ 23113 w 427203"/>
                <a:gd name="connsiteY60" fmla="*/ 163972 h 606651"/>
                <a:gd name="connsiteX61" fmla="*/ 23113 w 427203"/>
                <a:gd name="connsiteY61" fmla="*/ 70301 h 606651"/>
                <a:gd name="connsiteX62" fmla="*/ 10497 w 427203"/>
                <a:gd name="connsiteY62" fmla="*/ 70301 h 606651"/>
                <a:gd name="connsiteX63" fmla="*/ 0 w 427203"/>
                <a:gd name="connsiteY63" fmla="*/ 59819 h 606651"/>
                <a:gd name="connsiteX64" fmla="*/ 0 w 427203"/>
                <a:gd name="connsiteY64" fmla="*/ 10482 h 606651"/>
                <a:gd name="connsiteX65" fmla="*/ 10497 w 427203"/>
                <a:gd name="connsiteY65" fmla="*/ 0 h 606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427203" h="606651">
                  <a:moveTo>
                    <a:pt x="213121" y="384017"/>
                  </a:moveTo>
                  <a:cubicBezTo>
                    <a:pt x="248565" y="384017"/>
                    <a:pt x="329276" y="447590"/>
                    <a:pt x="347383" y="461151"/>
                  </a:cubicBezTo>
                  <a:cubicBezTo>
                    <a:pt x="349984" y="463075"/>
                    <a:pt x="351332" y="464325"/>
                    <a:pt x="351332" y="468942"/>
                  </a:cubicBezTo>
                  <a:lnTo>
                    <a:pt x="351332" y="517703"/>
                  </a:lnTo>
                  <a:cubicBezTo>
                    <a:pt x="351332" y="517703"/>
                    <a:pt x="351910" y="522416"/>
                    <a:pt x="346517" y="522416"/>
                  </a:cubicBezTo>
                  <a:cubicBezTo>
                    <a:pt x="343916" y="522416"/>
                    <a:pt x="279193" y="522512"/>
                    <a:pt x="213121" y="522608"/>
                  </a:cubicBezTo>
                  <a:cubicBezTo>
                    <a:pt x="146953" y="522512"/>
                    <a:pt x="82229" y="522416"/>
                    <a:pt x="79629" y="522416"/>
                  </a:cubicBezTo>
                  <a:cubicBezTo>
                    <a:pt x="74235" y="522416"/>
                    <a:pt x="74813" y="517703"/>
                    <a:pt x="74813" y="517703"/>
                  </a:cubicBezTo>
                  <a:lnTo>
                    <a:pt x="74813" y="468942"/>
                  </a:lnTo>
                  <a:cubicBezTo>
                    <a:pt x="74813" y="464325"/>
                    <a:pt x="76162" y="463075"/>
                    <a:pt x="78762" y="461151"/>
                  </a:cubicBezTo>
                  <a:cubicBezTo>
                    <a:pt x="96869" y="447590"/>
                    <a:pt x="177581" y="384017"/>
                    <a:pt x="213121" y="384017"/>
                  </a:cubicBezTo>
                  <a:close/>
                  <a:moveTo>
                    <a:pt x="60864" y="70301"/>
                  </a:moveTo>
                  <a:lnTo>
                    <a:pt x="60864" y="163972"/>
                  </a:lnTo>
                  <a:cubicBezTo>
                    <a:pt x="60864" y="177052"/>
                    <a:pt x="62116" y="185323"/>
                    <a:pt x="64620" y="189362"/>
                  </a:cubicBezTo>
                  <a:cubicBezTo>
                    <a:pt x="66738" y="192728"/>
                    <a:pt x="71361" y="195613"/>
                    <a:pt x="80029" y="200902"/>
                  </a:cubicBezTo>
                  <a:lnTo>
                    <a:pt x="192800" y="269473"/>
                  </a:lnTo>
                  <a:cubicBezTo>
                    <a:pt x="198386" y="272935"/>
                    <a:pt x="201853" y="278994"/>
                    <a:pt x="201853" y="285630"/>
                  </a:cubicBezTo>
                  <a:lnTo>
                    <a:pt x="201853" y="333812"/>
                  </a:lnTo>
                  <a:cubicBezTo>
                    <a:pt x="201853" y="340448"/>
                    <a:pt x="198386" y="346506"/>
                    <a:pt x="192704" y="349969"/>
                  </a:cubicBezTo>
                  <a:cubicBezTo>
                    <a:pt x="152256" y="374204"/>
                    <a:pt x="89563" y="412000"/>
                    <a:pt x="82436" y="417001"/>
                  </a:cubicBezTo>
                  <a:cubicBezTo>
                    <a:pt x="73287" y="423348"/>
                    <a:pt x="60864" y="432003"/>
                    <a:pt x="60864" y="457104"/>
                  </a:cubicBezTo>
                  <a:lnTo>
                    <a:pt x="60864" y="536254"/>
                  </a:lnTo>
                  <a:lnTo>
                    <a:pt x="366339" y="536254"/>
                  </a:lnTo>
                  <a:lnTo>
                    <a:pt x="366339" y="455373"/>
                  </a:lnTo>
                  <a:cubicBezTo>
                    <a:pt x="366339" y="442390"/>
                    <a:pt x="365087" y="434119"/>
                    <a:pt x="362487" y="429984"/>
                  </a:cubicBezTo>
                  <a:cubicBezTo>
                    <a:pt x="360368" y="426618"/>
                    <a:pt x="355746" y="423733"/>
                    <a:pt x="347079" y="418443"/>
                  </a:cubicBezTo>
                  <a:lnTo>
                    <a:pt x="234403" y="349872"/>
                  </a:lnTo>
                  <a:cubicBezTo>
                    <a:pt x="228721" y="346506"/>
                    <a:pt x="225351" y="340351"/>
                    <a:pt x="225351" y="333812"/>
                  </a:cubicBezTo>
                  <a:lnTo>
                    <a:pt x="225351" y="285630"/>
                  </a:lnTo>
                  <a:cubicBezTo>
                    <a:pt x="225351" y="278994"/>
                    <a:pt x="228818" y="272839"/>
                    <a:pt x="234500" y="269473"/>
                  </a:cubicBezTo>
                  <a:cubicBezTo>
                    <a:pt x="274851" y="245238"/>
                    <a:pt x="337641" y="207346"/>
                    <a:pt x="344767" y="202441"/>
                  </a:cubicBezTo>
                  <a:cubicBezTo>
                    <a:pt x="353820" y="196094"/>
                    <a:pt x="366339" y="187342"/>
                    <a:pt x="366339" y="162338"/>
                  </a:cubicBezTo>
                  <a:lnTo>
                    <a:pt x="366339" y="70301"/>
                  </a:lnTo>
                  <a:close/>
                  <a:moveTo>
                    <a:pt x="10497" y="0"/>
                  </a:moveTo>
                  <a:lnTo>
                    <a:pt x="416706" y="0"/>
                  </a:lnTo>
                  <a:cubicBezTo>
                    <a:pt x="422484" y="0"/>
                    <a:pt x="427203" y="4712"/>
                    <a:pt x="427203" y="10482"/>
                  </a:cubicBezTo>
                  <a:lnTo>
                    <a:pt x="427203" y="59819"/>
                  </a:lnTo>
                  <a:cubicBezTo>
                    <a:pt x="427203" y="65589"/>
                    <a:pt x="422484" y="70301"/>
                    <a:pt x="416706" y="70301"/>
                  </a:cubicBezTo>
                  <a:lnTo>
                    <a:pt x="404090" y="70301"/>
                  </a:lnTo>
                  <a:lnTo>
                    <a:pt x="404090" y="162338"/>
                  </a:lnTo>
                  <a:cubicBezTo>
                    <a:pt x="404090" y="206961"/>
                    <a:pt x="377607" y="225426"/>
                    <a:pt x="366339" y="233312"/>
                  </a:cubicBezTo>
                  <a:cubicBezTo>
                    <a:pt x="357383" y="239563"/>
                    <a:pt x="289200" y="280629"/>
                    <a:pt x="263102" y="296305"/>
                  </a:cubicBezTo>
                  <a:lnTo>
                    <a:pt x="263102" y="323233"/>
                  </a:lnTo>
                  <a:lnTo>
                    <a:pt x="366725" y="386322"/>
                  </a:lnTo>
                  <a:cubicBezTo>
                    <a:pt x="390608" y="400748"/>
                    <a:pt x="404090" y="411134"/>
                    <a:pt x="404090" y="455373"/>
                  </a:cubicBezTo>
                  <a:lnTo>
                    <a:pt x="404090" y="536254"/>
                  </a:lnTo>
                  <a:lnTo>
                    <a:pt x="416706" y="536254"/>
                  </a:lnTo>
                  <a:cubicBezTo>
                    <a:pt x="422484" y="536254"/>
                    <a:pt x="427203" y="540966"/>
                    <a:pt x="427203" y="546736"/>
                  </a:cubicBezTo>
                  <a:lnTo>
                    <a:pt x="427203" y="596169"/>
                  </a:lnTo>
                  <a:cubicBezTo>
                    <a:pt x="427203" y="601939"/>
                    <a:pt x="422484" y="606651"/>
                    <a:pt x="416706" y="606651"/>
                  </a:cubicBezTo>
                  <a:lnTo>
                    <a:pt x="10497" y="606651"/>
                  </a:lnTo>
                  <a:cubicBezTo>
                    <a:pt x="4719" y="606651"/>
                    <a:pt x="0" y="601939"/>
                    <a:pt x="0" y="596169"/>
                  </a:cubicBezTo>
                  <a:lnTo>
                    <a:pt x="0" y="546736"/>
                  </a:lnTo>
                  <a:cubicBezTo>
                    <a:pt x="0" y="540966"/>
                    <a:pt x="4719" y="536254"/>
                    <a:pt x="10497" y="536254"/>
                  </a:cubicBezTo>
                  <a:lnTo>
                    <a:pt x="23113" y="536254"/>
                  </a:lnTo>
                  <a:lnTo>
                    <a:pt x="23113" y="457104"/>
                  </a:lnTo>
                  <a:cubicBezTo>
                    <a:pt x="23113" y="412384"/>
                    <a:pt x="49500" y="393919"/>
                    <a:pt x="60767" y="386130"/>
                  </a:cubicBezTo>
                  <a:cubicBezTo>
                    <a:pt x="69724" y="379878"/>
                    <a:pt x="138003" y="338813"/>
                    <a:pt x="164102" y="323137"/>
                  </a:cubicBezTo>
                  <a:lnTo>
                    <a:pt x="164102" y="296209"/>
                  </a:lnTo>
                  <a:lnTo>
                    <a:pt x="60382" y="233120"/>
                  </a:lnTo>
                  <a:cubicBezTo>
                    <a:pt x="36595" y="218598"/>
                    <a:pt x="23113" y="208211"/>
                    <a:pt x="23113" y="163972"/>
                  </a:cubicBezTo>
                  <a:lnTo>
                    <a:pt x="23113" y="70301"/>
                  </a:lnTo>
                  <a:lnTo>
                    <a:pt x="10497" y="70301"/>
                  </a:lnTo>
                  <a:cubicBezTo>
                    <a:pt x="4719" y="70301"/>
                    <a:pt x="0" y="65589"/>
                    <a:pt x="0" y="59819"/>
                  </a:cubicBezTo>
                  <a:lnTo>
                    <a:pt x="0" y="10482"/>
                  </a:lnTo>
                  <a:cubicBezTo>
                    <a:pt x="0" y="4712"/>
                    <a:pt x="4719" y="0"/>
                    <a:pt x="1049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ED97838-764B-4008-AD29-8A752A5626D6}"/>
                </a:ext>
              </a:extLst>
            </p:cNvPr>
            <p:cNvSpPr txBox="1"/>
            <p:nvPr/>
          </p:nvSpPr>
          <p:spPr>
            <a:xfrm>
              <a:off x="9510683" y="1902415"/>
              <a:ext cx="14859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400" dirty="0">
                  <a:solidFill>
                    <a:schemeClr val="bg1"/>
                  </a:solidFill>
                </a:rPr>
                <a:t>赛事周期</a:t>
              </a: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0EB20D76-D30C-4822-93DF-E1222A20C83B}"/>
                </a:ext>
              </a:extLst>
            </p:cNvPr>
            <p:cNvSpPr txBox="1"/>
            <p:nvPr/>
          </p:nvSpPr>
          <p:spPr>
            <a:xfrm>
              <a:off x="9265540" y="2435974"/>
              <a:ext cx="2034539" cy="1023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bg1"/>
                  </a:solidFill>
                </a:rPr>
                <a:t>前序报道</a:t>
              </a:r>
              <a:r>
                <a:rPr lang="en-US" altLang="zh-CN" sz="1400" dirty="0">
                  <a:solidFill>
                    <a:schemeClr val="bg1"/>
                  </a:solidFill>
                </a:rPr>
                <a:t>+</a:t>
              </a:r>
              <a:r>
                <a:rPr lang="zh-CN" altLang="en-US" sz="1400" dirty="0">
                  <a:solidFill>
                    <a:schemeClr val="bg1"/>
                  </a:solidFill>
                </a:rPr>
                <a:t>比赛正期</a:t>
              </a:r>
              <a:r>
                <a:rPr lang="en-US" altLang="zh-CN" sz="1400" dirty="0">
                  <a:solidFill>
                    <a:schemeClr val="bg1"/>
                  </a:solidFill>
                </a:rPr>
                <a:t>+</a:t>
              </a:r>
              <a:r>
                <a:rPr lang="zh-CN" altLang="en-US" sz="1400" dirty="0">
                  <a:solidFill>
                    <a:schemeClr val="bg1"/>
                  </a:solidFill>
                </a:rPr>
                <a:t>联动峰会</a:t>
              </a:r>
              <a:r>
                <a:rPr lang="en-US" altLang="zh-CN" sz="1400" dirty="0">
                  <a:solidFill>
                    <a:schemeClr val="bg1"/>
                  </a:solidFill>
                </a:rPr>
                <a:t>+</a:t>
              </a:r>
              <a:r>
                <a:rPr lang="zh-CN" altLang="en-US" sz="1400" dirty="0">
                  <a:solidFill>
                    <a:schemeClr val="bg1"/>
                  </a:solidFill>
                </a:rPr>
                <a:t>闭幕式，总共约</a:t>
              </a:r>
              <a:r>
                <a:rPr lang="en-US" altLang="zh-CN" sz="1400" dirty="0">
                  <a:solidFill>
                    <a:schemeClr val="bg1"/>
                  </a:solidFill>
                </a:rPr>
                <a:t>7</a:t>
              </a:r>
              <a:r>
                <a:rPr lang="zh-CN" altLang="en-US" sz="1400" dirty="0">
                  <a:solidFill>
                    <a:schemeClr val="bg1"/>
                  </a:solidFill>
                </a:rPr>
                <a:t>天</a:t>
              </a: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0FFE95C7-16D6-47FD-9D6B-46A873FAF2E8}"/>
              </a:ext>
            </a:extLst>
          </p:cNvPr>
          <p:cNvGrpSpPr/>
          <p:nvPr/>
        </p:nvGrpSpPr>
        <p:grpSpPr>
          <a:xfrm>
            <a:off x="632572" y="3904930"/>
            <a:ext cx="10925880" cy="1801729"/>
            <a:chOff x="632572" y="3904930"/>
            <a:chExt cx="10925880" cy="1801729"/>
          </a:xfrm>
        </p:grpSpPr>
        <p:sp>
          <p:nvSpPr>
            <p:cNvPr id="14" name="矩形: 圆角 13">
              <a:extLst>
                <a:ext uri="{FF2B5EF4-FFF2-40B4-BE49-F238E27FC236}">
                  <a16:creationId xmlns:a16="http://schemas.microsoft.com/office/drawing/2014/main" id="{95C8599D-B012-4096-A4C8-6C167E56CB59}"/>
                </a:ext>
              </a:extLst>
            </p:cNvPr>
            <p:cNvSpPr/>
            <p:nvPr/>
          </p:nvSpPr>
          <p:spPr>
            <a:xfrm>
              <a:off x="632572" y="3904930"/>
              <a:ext cx="10925880" cy="1801729"/>
            </a:xfrm>
            <a:prstGeom prst="roundRect">
              <a:avLst>
                <a:gd name="adj" fmla="val 10323"/>
              </a:avLst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holiday-photographs_74412">
              <a:extLst>
                <a:ext uri="{FF2B5EF4-FFF2-40B4-BE49-F238E27FC236}">
                  <a16:creationId xmlns:a16="http://schemas.microsoft.com/office/drawing/2014/main" id="{571B7E85-4237-4F85-8437-67D734F747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8006" y="4549877"/>
              <a:ext cx="609685" cy="453717"/>
            </a:xfrm>
            <a:custGeom>
              <a:avLst/>
              <a:gdLst>
                <a:gd name="connsiteX0" fmla="*/ 376318 w 606580"/>
                <a:gd name="connsiteY0" fmla="*/ 268615 h 451407"/>
                <a:gd name="connsiteX1" fmla="*/ 363877 w 606580"/>
                <a:gd name="connsiteY1" fmla="*/ 291051 h 451407"/>
                <a:gd name="connsiteX2" fmla="*/ 364063 w 606580"/>
                <a:gd name="connsiteY2" fmla="*/ 304865 h 451407"/>
                <a:gd name="connsiteX3" fmla="*/ 370840 w 606580"/>
                <a:gd name="connsiteY3" fmla="*/ 310521 h 451407"/>
                <a:gd name="connsiteX4" fmla="*/ 372140 w 606580"/>
                <a:gd name="connsiteY4" fmla="*/ 310335 h 451407"/>
                <a:gd name="connsiteX5" fmla="*/ 377618 w 606580"/>
                <a:gd name="connsiteY5" fmla="*/ 302269 h 451407"/>
                <a:gd name="connsiteX6" fmla="*/ 377525 w 606580"/>
                <a:gd name="connsiteY6" fmla="*/ 293369 h 451407"/>
                <a:gd name="connsiteX7" fmla="*/ 385509 w 606580"/>
                <a:gd name="connsiteY7" fmla="*/ 278999 h 451407"/>
                <a:gd name="connsiteX8" fmla="*/ 386159 w 606580"/>
                <a:gd name="connsiteY8" fmla="*/ 269264 h 451407"/>
                <a:gd name="connsiteX9" fmla="*/ 376318 w 606580"/>
                <a:gd name="connsiteY9" fmla="*/ 268615 h 451407"/>
                <a:gd name="connsiteX10" fmla="*/ 411597 w 606580"/>
                <a:gd name="connsiteY10" fmla="*/ 222352 h 451407"/>
                <a:gd name="connsiteX11" fmla="*/ 487819 w 606580"/>
                <a:gd name="connsiteY11" fmla="*/ 298468 h 451407"/>
                <a:gd name="connsiteX12" fmla="*/ 411597 w 606580"/>
                <a:gd name="connsiteY12" fmla="*/ 374491 h 451407"/>
                <a:gd name="connsiteX13" fmla="*/ 335468 w 606580"/>
                <a:gd name="connsiteY13" fmla="*/ 298468 h 451407"/>
                <a:gd name="connsiteX14" fmla="*/ 411597 w 606580"/>
                <a:gd name="connsiteY14" fmla="*/ 222352 h 451407"/>
                <a:gd name="connsiteX15" fmla="*/ 411598 w 606580"/>
                <a:gd name="connsiteY15" fmla="*/ 184195 h 451407"/>
                <a:gd name="connsiteX16" fmla="*/ 297116 w 606580"/>
                <a:gd name="connsiteY16" fmla="*/ 298476 h 451407"/>
                <a:gd name="connsiteX17" fmla="*/ 411598 w 606580"/>
                <a:gd name="connsiteY17" fmla="*/ 412757 h 451407"/>
                <a:gd name="connsiteX18" fmla="*/ 526080 w 606580"/>
                <a:gd name="connsiteY18" fmla="*/ 298476 h 451407"/>
                <a:gd name="connsiteX19" fmla="*/ 411598 w 606580"/>
                <a:gd name="connsiteY19" fmla="*/ 184195 h 451407"/>
                <a:gd name="connsiteX20" fmla="*/ 146794 w 606580"/>
                <a:gd name="connsiteY20" fmla="*/ 184195 h 451407"/>
                <a:gd name="connsiteX21" fmla="*/ 125532 w 606580"/>
                <a:gd name="connsiteY21" fmla="*/ 205327 h 451407"/>
                <a:gd name="connsiteX22" fmla="*/ 146794 w 606580"/>
                <a:gd name="connsiteY22" fmla="*/ 226552 h 451407"/>
                <a:gd name="connsiteX23" fmla="*/ 167963 w 606580"/>
                <a:gd name="connsiteY23" fmla="*/ 205327 h 451407"/>
                <a:gd name="connsiteX24" fmla="*/ 146794 w 606580"/>
                <a:gd name="connsiteY24" fmla="*/ 184195 h 451407"/>
                <a:gd name="connsiteX25" fmla="*/ 5757 w 606580"/>
                <a:gd name="connsiteY25" fmla="*/ 146564 h 451407"/>
                <a:gd name="connsiteX26" fmla="*/ 600916 w 606580"/>
                <a:gd name="connsiteY26" fmla="*/ 146564 h 451407"/>
                <a:gd name="connsiteX27" fmla="*/ 606580 w 606580"/>
                <a:gd name="connsiteY27" fmla="*/ 152218 h 451407"/>
                <a:gd name="connsiteX28" fmla="*/ 606580 w 606580"/>
                <a:gd name="connsiteY28" fmla="*/ 389957 h 451407"/>
                <a:gd name="connsiteX29" fmla="*/ 545114 w 606580"/>
                <a:gd name="connsiteY29" fmla="*/ 451407 h 451407"/>
                <a:gd name="connsiteX30" fmla="*/ 61559 w 606580"/>
                <a:gd name="connsiteY30" fmla="*/ 451407 h 451407"/>
                <a:gd name="connsiteX31" fmla="*/ 0 w 606580"/>
                <a:gd name="connsiteY31" fmla="*/ 389957 h 451407"/>
                <a:gd name="connsiteX32" fmla="*/ 0 w 606580"/>
                <a:gd name="connsiteY32" fmla="*/ 152218 h 451407"/>
                <a:gd name="connsiteX33" fmla="*/ 5757 w 606580"/>
                <a:gd name="connsiteY33" fmla="*/ 146564 h 451407"/>
                <a:gd name="connsiteX34" fmla="*/ 328684 w 606580"/>
                <a:gd name="connsiteY34" fmla="*/ 0 h 451407"/>
                <a:gd name="connsiteX35" fmla="*/ 494605 w 606580"/>
                <a:gd name="connsiteY35" fmla="*/ 0 h 451407"/>
                <a:gd name="connsiteX36" fmla="*/ 520510 w 606580"/>
                <a:gd name="connsiteY36" fmla="*/ 25863 h 451407"/>
                <a:gd name="connsiteX37" fmla="*/ 520510 w 606580"/>
                <a:gd name="connsiteY37" fmla="*/ 53672 h 451407"/>
                <a:gd name="connsiteX38" fmla="*/ 545114 w 606580"/>
                <a:gd name="connsiteY38" fmla="*/ 53672 h 451407"/>
                <a:gd name="connsiteX39" fmla="*/ 606580 w 606580"/>
                <a:gd name="connsiteY39" fmla="*/ 115131 h 451407"/>
                <a:gd name="connsiteX40" fmla="*/ 600916 w 606580"/>
                <a:gd name="connsiteY40" fmla="*/ 120879 h 451407"/>
                <a:gd name="connsiteX41" fmla="*/ 5757 w 606580"/>
                <a:gd name="connsiteY41" fmla="*/ 120879 h 451407"/>
                <a:gd name="connsiteX42" fmla="*/ 0 w 606580"/>
                <a:gd name="connsiteY42" fmla="*/ 115131 h 451407"/>
                <a:gd name="connsiteX43" fmla="*/ 61559 w 606580"/>
                <a:gd name="connsiteY43" fmla="*/ 53672 h 451407"/>
                <a:gd name="connsiteX44" fmla="*/ 111604 w 606580"/>
                <a:gd name="connsiteY44" fmla="*/ 53672 h 451407"/>
                <a:gd name="connsiteX45" fmla="*/ 111604 w 606580"/>
                <a:gd name="connsiteY45" fmla="*/ 34206 h 451407"/>
                <a:gd name="connsiteX46" fmla="*/ 120425 w 606580"/>
                <a:gd name="connsiteY46" fmla="*/ 25399 h 451407"/>
                <a:gd name="connsiteX47" fmla="*/ 173070 w 606580"/>
                <a:gd name="connsiteY47" fmla="*/ 25399 h 451407"/>
                <a:gd name="connsiteX48" fmla="*/ 181984 w 606580"/>
                <a:gd name="connsiteY48" fmla="*/ 34206 h 451407"/>
                <a:gd name="connsiteX49" fmla="*/ 181984 w 606580"/>
                <a:gd name="connsiteY49" fmla="*/ 53672 h 451407"/>
                <a:gd name="connsiteX50" fmla="*/ 302780 w 606580"/>
                <a:gd name="connsiteY50" fmla="*/ 53672 h 451407"/>
                <a:gd name="connsiteX51" fmla="*/ 302780 w 606580"/>
                <a:gd name="connsiteY51" fmla="*/ 25863 h 451407"/>
                <a:gd name="connsiteX52" fmla="*/ 328684 w 606580"/>
                <a:gd name="connsiteY52" fmla="*/ 0 h 451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06580" h="451407">
                  <a:moveTo>
                    <a:pt x="376318" y="268615"/>
                  </a:moveTo>
                  <a:cubicBezTo>
                    <a:pt x="369819" y="274456"/>
                    <a:pt x="365363" y="282429"/>
                    <a:pt x="363877" y="291051"/>
                  </a:cubicBezTo>
                  <a:cubicBezTo>
                    <a:pt x="363135" y="295687"/>
                    <a:pt x="363135" y="300322"/>
                    <a:pt x="364063" y="304865"/>
                  </a:cubicBezTo>
                  <a:cubicBezTo>
                    <a:pt x="364713" y="308203"/>
                    <a:pt x="367591" y="310521"/>
                    <a:pt x="370840" y="310521"/>
                  </a:cubicBezTo>
                  <a:cubicBezTo>
                    <a:pt x="371305" y="310521"/>
                    <a:pt x="371769" y="310428"/>
                    <a:pt x="372140" y="310335"/>
                  </a:cubicBezTo>
                  <a:cubicBezTo>
                    <a:pt x="375947" y="309593"/>
                    <a:pt x="378360" y="305978"/>
                    <a:pt x="377618" y="302269"/>
                  </a:cubicBezTo>
                  <a:cubicBezTo>
                    <a:pt x="377061" y="299303"/>
                    <a:pt x="377061" y="296336"/>
                    <a:pt x="377525" y="293369"/>
                  </a:cubicBezTo>
                  <a:cubicBezTo>
                    <a:pt x="378546" y="287714"/>
                    <a:pt x="381239" y="282800"/>
                    <a:pt x="385509" y="278999"/>
                  </a:cubicBezTo>
                  <a:cubicBezTo>
                    <a:pt x="388387" y="276496"/>
                    <a:pt x="388666" y="272138"/>
                    <a:pt x="386159" y="269264"/>
                  </a:cubicBezTo>
                  <a:cubicBezTo>
                    <a:pt x="383560" y="266390"/>
                    <a:pt x="379196" y="266112"/>
                    <a:pt x="376318" y="268615"/>
                  </a:cubicBezTo>
                  <a:close/>
                  <a:moveTo>
                    <a:pt x="411597" y="222352"/>
                  </a:moveTo>
                  <a:cubicBezTo>
                    <a:pt x="453654" y="222352"/>
                    <a:pt x="487819" y="256470"/>
                    <a:pt x="487819" y="298468"/>
                  </a:cubicBezTo>
                  <a:cubicBezTo>
                    <a:pt x="487819" y="340466"/>
                    <a:pt x="453654" y="374491"/>
                    <a:pt x="411597" y="374491"/>
                  </a:cubicBezTo>
                  <a:cubicBezTo>
                    <a:pt x="369541" y="374491"/>
                    <a:pt x="335468" y="340466"/>
                    <a:pt x="335468" y="298468"/>
                  </a:cubicBezTo>
                  <a:cubicBezTo>
                    <a:pt x="335468" y="256470"/>
                    <a:pt x="369541" y="222352"/>
                    <a:pt x="411597" y="222352"/>
                  </a:cubicBezTo>
                  <a:close/>
                  <a:moveTo>
                    <a:pt x="411598" y="184195"/>
                  </a:moveTo>
                  <a:cubicBezTo>
                    <a:pt x="348368" y="184195"/>
                    <a:pt x="297116" y="235357"/>
                    <a:pt x="297116" y="298476"/>
                  </a:cubicBezTo>
                  <a:cubicBezTo>
                    <a:pt x="297116" y="361595"/>
                    <a:pt x="348368" y="412757"/>
                    <a:pt x="411598" y="412757"/>
                  </a:cubicBezTo>
                  <a:cubicBezTo>
                    <a:pt x="474828" y="412757"/>
                    <a:pt x="526080" y="361595"/>
                    <a:pt x="526080" y="298476"/>
                  </a:cubicBezTo>
                  <a:cubicBezTo>
                    <a:pt x="526080" y="235357"/>
                    <a:pt x="474828" y="184195"/>
                    <a:pt x="411598" y="184195"/>
                  </a:cubicBezTo>
                  <a:close/>
                  <a:moveTo>
                    <a:pt x="146794" y="184195"/>
                  </a:moveTo>
                  <a:cubicBezTo>
                    <a:pt x="135095" y="184195"/>
                    <a:pt x="125532" y="193649"/>
                    <a:pt x="125532" y="205327"/>
                  </a:cubicBezTo>
                  <a:cubicBezTo>
                    <a:pt x="125532" y="217098"/>
                    <a:pt x="135095" y="226552"/>
                    <a:pt x="146794" y="226552"/>
                  </a:cubicBezTo>
                  <a:cubicBezTo>
                    <a:pt x="158493" y="226552"/>
                    <a:pt x="167963" y="217098"/>
                    <a:pt x="167963" y="205327"/>
                  </a:cubicBezTo>
                  <a:cubicBezTo>
                    <a:pt x="167963" y="193649"/>
                    <a:pt x="158493" y="184195"/>
                    <a:pt x="146794" y="184195"/>
                  </a:cubicBezTo>
                  <a:close/>
                  <a:moveTo>
                    <a:pt x="5757" y="146564"/>
                  </a:moveTo>
                  <a:lnTo>
                    <a:pt x="600916" y="146564"/>
                  </a:lnTo>
                  <a:cubicBezTo>
                    <a:pt x="604073" y="146564"/>
                    <a:pt x="606580" y="149067"/>
                    <a:pt x="606580" y="152218"/>
                  </a:cubicBezTo>
                  <a:lnTo>
                    <a:pt x="606580" y="389957"/>
                  </a:lnTo>
                  <a:cubicBezTo>
                    <a:pt x="606580" y="423787"/>
                    <a:pt x="579004" y="451407"/>
                    <a:pt x="545114" y="451407"/>
                  </a:cubicBezTo>
                  <a:lnTo>
                    <a:pt x="61559" y="451407"/>
                  </a:lnTo>
                  <a:cubicBezTo>
                    <a:pt x="27576" y="451407"/>
                    <a:pt x="0" y="423787"/>
                    <a:pt x="0" y="389957"/>
                  </a:cubicBezTo>
                  <a:lnTo>
                    <a:pt x="0" y="152218"/>
                  </a:lnTo>
                  <a:cubicBezTo>
                    <a:pt x="0" y="149067"/>
                    <a:pt x="2600" y="146564"/>
                    <a:pt x="5757" y="146564"/>
                  </a:cubicBezTo>
                  <a:close/>
                  <a:moveTo>
                    <a:pt x="328684" y="0"/>
                  </a:moveTo>
                  <a:lnTo>
                    <a:pt x="494605" y="0"/>
                  </a:lnTo>
                  <a:cubicBezTo>
                    <a:pt x="508903" y="0"/>
                    <a:pt x="520510" y="11587"/>
                    <a:pt x="520510" y="25863"/>
                  </a:cubicBezTo>
                  <a:lnTo>
                    <a:pt x="520510" y="53672"/>
                  </a:lnTo>
                  <a:lnTo>
                    <a:pt x="545114" y="53672"/>
                  </a:lnTo>
                  <a:cubicBezTo>
                    <a:pt x="579004" y="53672"/>
                    <a:pt x="606580" y="81204"/>
                    <a:pt x="606580" y="115131"/>
                  </a:cubicBezTo>
                  <a:cubicBezTo>
                    <a:pt x="606580" y="118283"/>
                    <a:pt x="604073" y="120879"/>
                    <a:pt x="600916" y="120879"/>
                  </a:cubicBezTo>
                  <a:lnTo>
                    <a:pt x="5757" y="120879"/>
                  </a:lnTo>
                  <a:cubicBezTo>
                    <a:pt x="2600" y="120879"/>
                    <a:pt x="0" y="118283"/>
                    <a:pt x="0" y="115131"/>
                  </a:cubicBezTo>
                  <a:cubicBezTo>
                    <a:pt x="0" y="81204"/>
                    <a:pt x="27576" y="53672"/>
                    <a:pt x="61559" y="53672"/>
                  </a:cubicBezTo>
                  <a:lnTo>
                    <a:pt x="111604" y="53672"/>
                  </a:lnTo>
                  <a:lnTo>
                    <a:pt x="111604" y="34206"/>
                  </a:lnTo>
                  <a:cubicBezTo>
                    <a:pt x="111604" y="29293"/>
                    <a:pt x="115597" y="25399"/>
                    <a:pt x="120425" y="25399"/>
                  </a:cubicBezTo>
                  <a:lnTo>
                    <a:pt x="173070" y="25399"/>
                  </a:lnTo>
                  <a:cubicBezTo>
                    <a:pt x="177991" y="25399"/>
                    <a:pt x="181984" y="29293"/>
                    <a:pt x="181984" y="34206"/>
                  </a:cubicBezTo>
                  <a:lnTo>
                    <a:pt x="181984" y="53672"/>
                  </a:lnTo>
                  <a:lnTo>
                    <a:pt x="302780" y="53672"/>
                  </a:lnTo>
                  <a:lnTo>
                    <a:pt x="302780" y="25863"/>
                  </a:lnTo>
                  <a:cubicBezTo>
                    <a:pt x="302780" y="11587"/>
                    <a:pt x="314386" y="0"/>
                    <a:pt x="3286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BBF93F41-6883-40B3-9D32-3D4E6B8F0F90}"/>
                </a:ext>
              </a:extLst>
            </p:cNvPr>
            <p:cNvSpPr txBox="1"/>
            <p:nvPr/>
          </p:nvSpPr>
          <p:spPr>
            <a:xfrm>
              <a:off x="1537691" y="4574961"/>
              <a:ext cx="23616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400" dirty="0">
                  <a:solidFill>
                    <a:schemeClr val="bg1"/>
                  </a:solidFill>
                </a:rPr>
                <a:t>赛事传播媒体</a:t>
              </a: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6C834386-2AF0-4478-AC75-050F78859C4D}"/>
                </a:ext>
              </a:extLst>
            </p:cNvPr>
            <p:cNvSpPr txBox="1"/>
            <p:nvPr/>
          </p:nvSpPr>
          <p:spPr>
            <a:xfrm>
              <a:off x="4186069" y="4401838"/>
              <a:ext cx="7033345" cy="700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CCTV5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、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ESPN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、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SKYSPORT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、厦门卫视、东方卫视、浙江卫视、腾讯体育、阿里体育、爱奇艺体育、抖音、今日头条、微博、斗鱼、虎牙等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26CE2EEE-A045-40FE-81FD-2894FFEACFF9}"/>
              </a:ext>
            </a:extLst>
          </p:cNvPr>
          <p:cNvSpPr txBox="1"/>
          <p:nvPr/>
        </p:nvSpPr>
        <p:spPr>
          <a:xfrm>
            <a:off x="1071952" y="152481"/>
            <a:ext cx="66956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</a:t>
            </a:r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世锦赛初步方案</a:t>
            </a:r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-</a:t>
            </a:r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赛事内容</a:t>
            </a:r>
          </a:p>
        </p:txBody>
      </p:sp>
      <p:sp>
        <p:nvSpPr>
          <p:cNvPr id="10" name="流程图: 过程 9">
            <a:extLst>
              <a:ext uri="{FF2B5EF4-FFF2-40B4-BE49-F238E27FC236}">
                <a16:creationId xmlns:a16="http://schemas.microsoft.com/office/drawing/2014/main" id="{F8DF99F5-F69B-4AA1-B02F-37FE99B664DA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1" name="流程图: 过程 10">
            <a:extLst>
              <a:ext uri="{FF2B5EF4-FFF2-40B4-BE49-F238E27FC236}">
                <a16:creationId xmlns:a16="http://schemas.microsoft.com/office/drawing/2014/main" id="{D2F1BAD5-A67C-40C2-819F-889A7338EC14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419BCFC-305E-46C5-889F-1B5ED674A5E8}"/>
              </a:ext>
            </a:extLst>
          </p:cNvPr>
          <p:cNvGrpSpPr/>
          <p:nvPr/>
        </p:nvGrpSpPr>
        <p:grpSpPr>
          <a:xfrm>
            <a:off x="292423" y="146390"/>
            <a:ext cx="712800" cy="712800"/>
            <a:chOff x="8058460" y="5143897"/>
            <a:chExt cx="1291814" cy="1291814"/>
          </a:xfrm>
        </p:grpSpPr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A34E72C6-9A51-479A-8D04-908D50BE85C2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4" name="空心弧 13">
              <a:extLst>
                <a:ext uri="{FF2B5EF4-FFF2-40B4-BE49-F238E27FC236}">
                  <a16:creationId xmlns:a16="http://schemas.microsoft.com/office/drawing/2014/main" id="{71546673-1BF9-4008-9F93-405BFF21D966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5" name="presentation_323252">
              <a:extLst>
                <a:ext uri="{FF2B5EF4-FFF2-40B4-BE49-F238E27FC236}">
                  <a16:creationId xmlns:a16="http://schemas.microsoft.com/office/drawing/2014/main" id="{22DD0DD2-B5F2-463C-875B-9DF8293D5F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4885FA08-C970-4937-9319-16420A95E02F}"/>
              </a:ext>
            </a:extLst>
          </p:cNvPr>
          <p:cNvGrpSpPr/>
          <p:nvPr/>
        </p:nvGrpSpPr>
        <p:grpSpPr>
          <a:xfrm>
            <a:off x="0" y="1225771"/>
            <a:ext cx="12192000" cy="5323011"/>
            <a:chOff x="0" y="1225771"/>
            <a:chExt cx="12192000" cy="5323011"/>
          </a:xfrm>
        </p:grpSpPr>
        <p:graphicFrame>
          <p:nvGraphicFramePr>
            <p:cNvPr id="4" name="表格 3"/>
            <p:cNvGraphicFramePr/>
            <p:nvPr>
              <p:extLst>
                <p:ext uri="{D42A27DB-BD31-4B8C-83A1-F6EECF244321}">
                  <p14:modId xmlns:p14="http://schemas.microsoft.com/office/powerpoint/2010/main" val="3122424955"/>
                </p:ext>
              </p:extLst>
            </p:nvPr>
          </p:nvGraphicFramePr>
          <p:xfrm>
            <a:off x="0" y="1225771"/>
            <a:ext cx="12192000" cy="5323011"/>
          </p:xfrm>
          <a:graphic>
            <a:graphicData uri="http://schemas.openxmlformats.org/drawingml/2006/table">
              <a:tbl>
                <a:tblPr firstRow="1" bandRow="1">
                  <a:tableStyleId>{5C22544A-7EE6-4342-B048-85BDC9FD1C3A}</a:tableStyleId>
                </a:tblPr>
                <a:tblGrid>
                  <a:gridCol w="1714500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1943100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3531870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5002530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</a:tblGrid>
                <a:tr h="529856">
                  <a:tc>
                    <a:txBody>
                      <a:bodyPr/>
                      <a:lstStyle/>
                      <a:p>
                        <a:pPr>
                          <a:buNone/>
                        </a:pPr>
                        <a:r>
                          <a:rPr lang="zh-CN" altLang="en-US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赛事预算金额</a:t>
                        </a:r>
                      </a:p>
                    </a:txBody>
                    <a:tcPr anchor="ctr">
                      <a:lnL w="12700" cmpd="sng">
                        <a:noFill/>
                      </a:lnL>
                      <a:lnR w="12700" cmpd="sng">
                        <a:noFill/>
                      </a:lnR>
                      <a:lnT w="12700" cmpd="sng">
                        <a:noFill/>
                      </a:lnT>
                      <a:lnB w="381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1D5394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>
                          <a:buNone/>
                        </a:pPr>
                        <a:r>
                          <a:rPr lang="en-US" altLang="zh-CN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600</a:t>
                        </a:r>
                        <a:r>
                          <a:rPr lang="zh-CN" altLang="en-US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万</a:t>
                        </a:r>
                      </a:p>
                    </a:txBody>
                    <a:tcPr anchor="ctr">
                      <a:lnL w="12700" cmpd="sng">
                        <a:noFill/>
                      </a:lnL>
                      <a:lnR w="12700" cmpd="sng">
                        <a:noFill/>
                      </a:lnR>
                      <a:lnT w="12700" cmpd="sng">
                        <a:noFill/>
                      </a:lnT>
                      <a:lnB w="381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1D5394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>
                          <a:buNone/>
                        </a:pPr>
                        <a:r>
                          <a:rPr lang="en-US" altLang="zh-CN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1200</a:t>
                        </a:r>
                        <a:r>
                          <a:rPr lang="zh-CN" altLang="en-US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万</a:t>
                        </a:r>
                      </a:p>
                    </a:txBody>
                    <a:tcPr anchor="ctr">
                      <a:lnL w="12700" cmpd="sng">
                        <a:noFill/>
                      </a:lnL>
                      <a:lnR w="12700" cmpd="sng">
                        <a:noFill/>
                      </a:lnR>
                      <a:lnT w="12700" cmpd="sng">
                        <a:noFill/>
                      </a:lnT>
                      <a:lnB w="381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1D5394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>
                          <a:buNone/>
                        </a:pPr>
                        <a:r>
                          <a:rPr lang="en-US" altLang="zh-CN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2000</a:t>
                        </a:r>
                        <a:r>
                          <a:rPr lang="zh-CN" altLang="en-US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万</a:t>
                        </a:r>
                      </a:p>
                    </a:txBody>
                    <a:tcPr anchor="ctr">
                      <a:lnL w="12700" cmpd="sng">
                        <a:noFill/>
                      </a:lnL>
                      <a:lnR w="12700" cmpd="sng">
                        <a:noFill/>
                      </a:lnR>
                      <a:lnT w="12700" cmpd="sng">
                        <a:noFill/>
                      </a:lnT>
                      <a:lnB w="381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1D5394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4793155">
                  <a:tc>
                    <a:txBody>
                      <a:bodyPr/>
                      <a:lstStyle/>
                      <a:p>
                        <a:pPr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具体内容</a:t>
                        </a:r>
                      </a:p>
                    </a:txBody>
                    <a:tcPr anchor="ctr">
                      <a:lnL w="12700" cmpd="sng">
                        <a:noFill/>
                      </a:lnL>
                      <a:lnR w="12700" cmpd="sng">
                        <a:noFill/>
                      </a:lnR>
                      <a:lnT w="381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1. 全球20余个参赛国家，40余名国际参赛选手。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2. 3日全案赛事策划及赛事执行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3. 基于景区的赛事宣传片拍摄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4.单一赛场赛事组织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5. 6000人以上现场观众，300万线上观众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6. 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配套落地无人机产业峰会</a:t>
                        </a: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200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人</a:t>
                        </a:r>
                      </a:p>
                    </a:txBody>
                    <a:tcPr>
                      <a:lnL w="12700" cmpd="sng">
                        <a:noFill/>
                      </a:lnL>
                      <a:lnR w="12700" cmpd="sng">
                        <a:noFill/>
                      </a:lnR>
                      <a:lnT w="381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1. 国际40余个参赛国家，100余名国际参赛选手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2. 5日全案赛事策划及赛事执行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3. 基于景区以及厦门全市的宣传片拍摄制作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4. 赛事全程纪录片拍摄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5.大型无人机竞速阵列灯光秀表演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6.CCTV为首的媒体平台同步直播报道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7. 2大赛场同时举办赛事，赛场联动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8. 1.2万人以上现场观众，1</a:t>
                        </a: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5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00万线观众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9. 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配套落地无人机产业峰会</a:t>
                        </a: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300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人</a:t>
                        </a:r>
                        <a:endPara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微软雅黑" panose="020B0503020204020204" pitchFamily="34" charset="-122"/>
                        </a:endParaRPr>
                      </a:p>
                    </a:txBody>
                    <a:tcPr>
                      <a:lnL w="12700" cmpd="sng">
                        <a:noFill/>
                      </a:lnL>
                      <a:lnR w="12700" cmpd="sng">
                        <a:noFill/>
                      </a:lnR>
                      <a:lnT w="381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1. 国际80余个参赛国家，200余名顶尖无人机竞速国际参赛选手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2. 7日全案赛事策划及赛事执行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3. 基于景区以及厦门全市的宣传片拍摄制作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4. 赛事全程纪录片拍摄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5.大型无人机竞速阵列灯光秀表演，数量突破吉尼斯世界纪录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6.CCTV为首的媒体平台同步直播报道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7.流量明星赛事站台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8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.赛事节目制作，并于优酷，爱奇艺，腾讯体育播出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9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. </a:t>
                        </a: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2.5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万以上现场观众，</a:t>
                        </a: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3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000万以上线上观众</a:t>
                        </a: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10. 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配套落地无人机产业峰会</a:t>
                        </a:r>
                        <a:r>
                          <a:rPr lang="en-US" altLang="zh-CN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500</a:t>
                        </a:r>
                        <a:r>
                          <a:rPr lang="zh-CN" altLang="en-US" sz="1400" dirty="0">
                            <a:latin typeface="微软雅黑" panose="020B0503020204020204" pitchFamily="34" charset="-122"/>
                            <a:ea typeface="微软雅黑" panose="020B0503020204020204" pitchFamily="34" charset="-122"/>
                            <a:cs typeface="+mn-ea"/>
                            <a:sym typeface="微软雅黑" panose="020B0503020204020204" pitchFamily="34" charset="-122"/>
                          </a:rPr>
                          <a:t>人</a:t>
                        </a:r>
                        <a:endPara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微软雅黑" panose="020B0503020204020204" pitchFamily="34" charset="-122"/>
                        </a:endParaRPr>
                      </a:p>
                      <a:p>
                        <a:pPr>
                          <a:lnSpc>
                            <a:spcPct val="150000"/>
                          </a:lnSpc>
                          <a:spcBef>
                            <a:spcPts val="0"/>
                          </a:spcBef>
                          <a:spcAft>
                            <a:spcPts val="600"/>
                          </a:spcAft>
                          <a:buNone/>
                        </a:pPr>
                        <a:endParaRPr lang="zh-CN" altLang="en-US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ea"/>
                          <a:sym typeface="微软雅黑" panose="020B0503020204020204" pitchFamily="34" charset="-122"/>
                        </a:endParaRPr>
                      </a:p>
                    </a:txBody>
                    <a:tcPr>
                      <a:lnL w="12700" cmpd="sng">
                        <a:noFill/>
                      </a:lnL>
                      <a:lnR w="12700" cmpd="sng">
                        <a:noFill/>
                      </a:lnR>
                      <a:lnT w="38100" cmpd="sng">
                        <a:noFill/>
                      </a:lnT>
                      <a:lnB w="12700" cmpd="sng">
                        <a:noFill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</a:tbl>
            </a:graphicData>
          </a:graphic>
        </p:graphicFrame>
        <p:sp>
          <p:nvSpPr>
            <p:cNvPr id="16" name="流程图: 过程 15">
              <a:extLst>
                <a:ext uri="{FF2B5EF4-FFF2-40B4-BE49-F238E27FC236}">
                  <a16:creationId xmlns:a16="http://schemas.microsoft.com/office/drawing/2014/main" id="{8644F322-18DC-4E3C-AF7B-E0D38A92A1E7}"/>
                </a:ext>
              </a:extLst>
            </p:cNvPr>
            <p:cNvSpPr/>
            <p:nvPr/>
          </p:nvSpPr>
          <p:spPr>
            <a:xfrm>
              <a:off x="0" y="6069330"/>
              <a:ext cx="12192000" cy="479452"/>
            </a:xfrm>
            <a:prstGeom prst="flowChartProcess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5956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1140978"/>
            <a:ext cx="9144000" cy="474348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赛事投入成本资金流向图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-120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万范例（均为预估）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7AD94B6-D065-4BE3-8361-C889430A45C8}"/>
              </a:ext>
            </a:extLst>
          </p:cNvPr>
          <p:cNvSpPr txBox="1"/>
          <p:nvPr/>
        </p:nvSpPr>
        <p:spPr>
          <a:xfrm>
            <a:off x="1071952" y="152481"/>
            <a:ext cx="537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</a:t>
            </a:r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世锦赛初步方案</a:t>
            </a:r>
          </a:p>
        </p:txBody>
      </p:sp>
      <p:sp>
        <p:nvSpPr>
          <p:cNvPr id="10" name="流程图: 过程 9">
            <a:extLst>
              <a:ext uri="{FF2B5EF4-FFF2-40B4-BE49-F238E27FC236}">
                <a16:creationId xmlns:a16="http://schemas.microsoft.com/office/drawing/2014/main" id="{EAAD733E-CBBE-41FA-A14D-76E3445F7456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1" name="流程图: 过程 10">
            <a:extLst>
              <a:ext uri="{FF2B5EF4-FFF2-40B4-BE49-F238E27FC236}">
                <a16:creationId xmlns:a16="http://schemas.microsoft.com/office/drawing/2014/main" id="{03DC2084-32CE-4670-BCA8-13B18982C398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D6731FE5-F618-4B19-98EA-99A69B03E102}"/>
              </a:ext>
            </a:extLst>
          </p:cNvPr>
          <p:cNvGrpSpPr/>
          <p:nvPr/>
        </p:nvGrpSpPr>
        <p:grpSpPr>
          <a:xfrm>
            <a:off x="928007" y="1768395"/>
            <a:ext cx="10261964" cy="4810005"/>
            <a:chOff x="928007" y="1768395"/>
            <a:chExt cx="10261964" cy="4810005"/>
          </a:xfrm>
        </p:grpSpPr>
        <p:grpSp>
          <p:nvGrpSpPr>
            <p:cNvPr id="64" name="组合 63">
              <a:extLst>
                <a:ext uri="{FF2B5EF4-FFF2-40B4-BE49-F238E27FC236}">
                  <a16:creationId xmlns:a16="http://schemas.microsoft.com/office/drawing/2014/main" id="{7EBA1284-9980-4613-8CA8-D5A27F93C922}"/>
                </a:ext>
              </a:extLst>
            </p:cNvPr>
            <p:cNvGrpSpPr/>
            <p:nvPr/>
          </p:nvGrpSpPr>
          <p:grpSpPr>
            <a:xfrm>
              <a:off x="928007" y="2125980"/>
              <a:ext cx="10261964" cy="4452420"/>
              <a:chOff x="327186" y="2125980"/>
              <a:chExt cx="11537628" cy="4452420"/>
            </a:xfrm>
          </p:grpSpPr>
          <p:cxnSp>
            <p:nvCxnSpPr>
              <p:cNvPr id="12" name="直接连接符 11">
                <a:extLst>
                  <a:ext uri="{FF2B5EF4-FFF2-40B4-BE49-F238E27FC236}">
                    <a16:creationId xmlns:a16="http://schemas.microsoft.com/office/drawing/2014/main" id="{63087ED7-D638-4EEA-B7D1-563163D77194}"/>
                  </a:ext>
                </a:extLst>
              </p:cNvPr>
              <p:cNvCxnSpPr/>
              <p:nvPr/>
            </p:nvCxnSpPr>
            <p:spPr>
              <a:xfrm>
                <a:off x="327186" y="2125980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id="{DFF4C464-1DA1-45A9-8D74-E90E77E651AE}"/>
                  </a:ext>
                </a:extLst>
              </p:cNvPr>
              <p:cNvCxnSpPr/>
              <p:nvPr/>
            </p:nvCxnSpPr>
            <p:spPr>
              <a:xfrm>
                <a:off x="327186" y="2571222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id="{B4D71C14-0641-4D3A-A248-0D4F40BCEA4E}"/>
                  </a:ext>
                </a:extLst>
              </p:cNvPr>
              <p:cNvCxnSpPr/>
              <p:nvPr/>
            </p:nvCxnSpPr>
            <p:spPr>
              <a:xfrm>
                <a:off x="327186" y="3016464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4FDB22CE-DBBE-474C-8486-AEBAA66FDEF1}"/>
                  </a:ext>
                </a:extLst>
              </p:cNvPr>
              <p:cNvCxnSpPr/>
              <p:nvPr/>
            </p:nvCxnSpPr>
            <p:spPr>
              <a:xfrm>
                <a:off x="327186" y="3461706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>
                <a:extLst>
                  <a:ext uri="{FF2B5EF4-FFF2-40B4-BE49-F238E27FC236}">
                    <a16:creationId xmlns:a16="http://schemas.microsoft.com/office/drawing/2014/main" id="{CCC56003-5B6D-454E-A161-444DEED7FAFF}"/>
                  </a:ext>
                </a:extLst>
              </p:cNvPr>
              <p:cNvCxnSpPr/>
              <p:nvPr/>
            </p:nvCxnSpPr>
            <p:spPr>
              <a:xfrm>
                <a:off x="327186" y="3906948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>
                <a:extLst>
                  <a:ext uri="{FF2B5EF4-FFF2-40B4-BE49-F238E27FC236}">
                    <a16:creationId xmlns:a16="http://schemas.microsoft.com/office/drawing/2014/main" id="{73AF4523-BADE-4BCB-8ED2-AE4B10897960}"/>
                  </a:ext>
                </a:extLst>
              </p:cNvPr>
              <p:cNvCxnSpPr/>
              <p:nvPr/>
            </p:nvCxnSpPr>
            <p:spPr>
              <a:xfrm>
                <a:off x="327186" y="4352190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AF581283-F719-42AD-8F67-FD04A93925F6}"/>
                  </a:ext>
                </a:extLst>
              </p:cNvPr>
              <p:cNvCxnSpPr/>
              <p:nvPr/>
            </p:nvCxnSpPr>
            <p:spPr>
              <a:xfrm>
                <a:off x="327186" y="4797432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1902370F-CC4F-4945-BA1B-4DABE3170D63}"/>
                  </a:ext>
                </a:extLst>
              </p:cNvPr>
              <p:cNvCxnSpPr/>
              <p:nvPr/>
            </p:nvCxnSpPr>
            <p:spPr>
              <a:xfrm>
                <a:off x="327186" y="5242674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>
                <a:extLst>
                  <a:ext uri="{FF2B5EF4-FFF2-40B4-BE49-F238E27FC236}">
                    <a16:creationId xmlns:a16="http://schemas.microsoft.com/office/drawing/2014/main" id="{C9835645-AE54-4028-ADC9-BAC8D0F01C09}"/>
                  </a:ext>
                </a:extLst>
              </p:cNvPr>
              <p:cNvCxnSpPr/>
              <p:nvPr/>
            </p:nvCxnSpPr>
            <p:spPr>
              <a:xfrm>
                <a:off x="327186" y="5687916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5DF9E6B8-AF36-42ED-A9F0-74769D954D6E}"/>
                  </a:ext>
                </a:extLst>
              </p:cNvPr>
              <p:cNvCxnSpPr/>
              <p:nvPr/>
            </p:nvCxnSpPr>
            <p:spPr>
              <a:xfrm>
                <a:off x="327186" y="6133158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50170857-5A01-46EC-8180-8CAEC7E14479}"/>
                  </a:ext>
                </a:extLst>
              </p:cNvPr>
              <p:cNvCxnSpPr/>
              <p:nvPr/>
            </p:nvCxnSpPr>
            <p:spPr>
              <a:xfrm>
                <a:off x="327186" y="6578400"/>
                <a:ext cx="1153762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9925BBC9-07C4-41AE-AB87-B0FCF01FDAB1}"/>
                </a:ext>
              </a:extLst>
            </p:cNvPr>
            <p:cNvSpPr txBox="1"/>
            <p:nvPr/>
          </p:nvSpPr>
          <p:spPr>
            <a:xfrm>
              <a:off x="1221144" y="1769003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/>
                <a:t>资金（元）</a:t>
              </a: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DAFB6764-8418-4651-88CC-5468B2F1DDB8}"/>
                </a:ext>
              </a:extLst>
            </p:cNvPr>
            <p:cNvSpPr txBox="1"/>
            <p:nvPr/>
          </p:nvSpPr>
          <p:spPr>
            <a:xfrm>
              <a:off x="1221144" y="2192991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15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A79E9FC6-73EB-42EF-9071-8069D048D116}"/>
                </a:ext>
              </a:extLst>
            </p:cNvPr>
            <p:cNvSpPr txBox="1"/>
            <p:nvPr/>
          </p:nvSpPr>
          <p:spPr>
            <a:xfrm>
              <a:off x="1221144" y="2639135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16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F938DBB0-608D-44E6-9472-DC9C50306096}"/>
                </a:ext>
              </a:extLst>
            </p:cNvPr>
            <p:cNvSpPr txBox="1"/>
            <p:nvPr/>
          </p:nvSpPr>
          <p:spPr>
            <a:xfrm>
              <a:off x="1221144" y="3085279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40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E8D98E8A-6282-4275-8A96-B026BD0051CF}"/>
                </a:ext>
              </a:extLst>
            </p:cNvPr>
            <p:cNvSpPr txBox="1"/>
            <p:nvPr/>
          </p:nvSpPr>
          <p:spPr>
            <a:xfrm>
              <a:off x="1221144" y="3531423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10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301678E3-A89A-4BE5-B5F5-31721CACBF18}"/>
                </a:ext>
              </a:extLst>
            </p:cNvPr>
            <p:cNvSpPr txBox="1"/>
            <p:nvPr/>
          </p:nvSpPr>
          <p:spPr>
            <a:xfrm>
              <a:off x="1221144" y="3977567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9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357F29BA-B9FA-40BF-AAE0-F8D5D4643DAD}"/>
                </a:ext>
              </a:extLst>
            </p:cNvPr>
            <p:cNvSpPr txBox="1"/>
            <p:nvPr/>
          </p:nvSpPr>
          <p:spPr>
            <a:xfrm>
              <a:off x="1221144" y="4423711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15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427AD48C-936D-4D70-8AD4-8ED015795025}"/>
                </a:ext>
              </a:extLst>
            </p:cNvPr>
            <p:cNvSpPr txBox="1"/>
            <p:nvPr/>
          </p:nvSpPr>
          <p:spPr>
            <a:xfrm>
              <a:off x="1221144" y="4869855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7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87304EB6-C071-4F0D-9424-409AFBBDE296}"/>
                </a:ext>
              </a:extLst>
            </p:cNvPr>
            <p:cNvSpPr txBox="1"/>
            <p:nvPr/>
          </p:nvSpPr>
          <p:spPr>
            <a:xfrm>
              <a:off x="1221144" y="5315999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3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32CFA320-5ED8-4718-8D7D-7E9D73D2196E}"/>
                </a:ext>
              </a:extLst>
            </p:cNvPr>
            <p:cNvSpPr txBox="1"/>
            <p:nvPr/>
          </p:nvSpPr>
          <p:spPr>
            <a:xfrm>
              <a:off x="1221144" y="5762143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30</a:t>
              </a:r>
              <a:r>
                <a:rPr lang="zh-CN" altLang="en-US" sz="1400" dirty="0"/>
                <a:t>万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03282B0C-8368-4367-8D94-FB8C7090DB12}"/>
                </a:ext>
              </a:extLst>
            </p:cNvPr>
            <p:cNvSpPr txBox="1"/>
            <p:nvPr/>
          </p:nvSpPr>
          <p:spPr>
            <a:xfrm>
              <a:off x="1221144" y="6208291"/>
              <a:ext cx="16363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/>
                <a:t>20</a:t>
              </a:r>
              <a:r>
                <a:rPr lang="zh-CN" altLang="en-US" sz="1400" dirty="0"/>
                <a:t>万</a:t>
              </a:r>
            </a:p>
          </p:txBody>
        </p:sp>
        <p:cxnSp>
          <p:nvCxnSpPr>
            <p:cNvPr id="41" name="直接连接符 40">
              <a:extLst>
                <a:ext uri="{FF2B5EF4-FFF2-40B4-BE49-F238E27FC236}">
                  <a16:creationId xmlns:a16="http://schemas.microsoft.com/office/drawing/2014/main" id="{FBCF5304-9DEE-4875-B20F-6DB264722B0B}"/>
                </a:ext>
              </a:extLst>
            </p:cNvPr>
            <p:cNvCxnSpPr/>
            <p:nvPr/>
          </p:nvCxnSpPr>
          <p:spPr>
            <a:xfrm>
              <a:off x="2788920" y="1783815"/>
              <a:ext cx="0" cy="4794585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7EECF6ED-E812-4C16-B24D-57C19583E883}"/>
                </a:ext>
              </a:extLst>
            </p:cNvPr>
            <p:cNvSpPr txBox="1"/>
            <p:nvPr/>
          </p:nvSpPr>
          <p:spPr>
            <a:xfrm>
              <a:off x="3328547" y="1768395"/>
              <a:ext cx="71641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/>
                <a:t>项目</a:t>
              </a: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7C62EC6D-FF25-428C-A8D2-C18FA2DA893E}"/>
                </a:ext>
              </a:extLst>
            </p:cNvPr>
            <p:cNvSpPr txBox="1"/>
            <p:nvPr/>
          </p:nvSpPr>
          <p:spPr>
            <a:xfrm>
              <a:off x="3328547" y="2192383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奖金</a:t>
              </a: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F28244D4-A04C-46F6-AF1D-57B4E2C40AEB}"/>
                </a:ext>
              </a:extLst>
            </p:cNvPr>
            <p:cNvSpPr txBox="1"/>
            <p:nvPr/>
          </p:nvSpPr>
          <p:spPr>
            <a:xfrm>
              <a:off x="3328547" y="2638527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场馆场地租赁</a:t>
              </a: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02D22178-CAD6-425A-81A2-C3EC2E837BCC}"/>
                </a:ext>
              </a:extLst>
            </p:cNvPr>
            <p:cNvSpPr txBox="1"/>
            <p:nvPr/>
          </p:nvSpPr>
          <p:spPr>
            <a:xfrm>
              <a:off x="3328547" y="3084671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赛场搭建费用（赛道搭建、赛场技术硬件搭建，赛场周边搭建）</a:t>
              </a: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387FB753-831E-41CC-B84C-CD8138C5FBAF}"/>
                </a:ext>
              </a:extLst>
            </p:cNvPr>
            <p:cNvSpPr txBox="1"/>
            <p:nvPr/>
          </p:nvSpPr>
          <p:spPr>
            <a:xfrm>
              <a:off x="3328547" y="3530815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/>
                <a:t>直播信号采集制作</a:t>
              </a: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473D1423-C563-4FCB-AFA4-1720CD73265E}"/>
                </a:ext>
              </a:extLst>
            </p:cNvPr>
            <p:cNvSpPr txBox="1"/>
            <p:nvPr/>
          </p:nvSpPr>
          <p:spPr>
            <a:xfrm>
              <a:off x="3328547" y="3976959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赛事全程拍摄制作</a:t>
              </a: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4960978B-D836-4B61-978D-2A1D7958DC49}"/>
                </a:ext>
              </a:extLst>
            </p:cNvPr>
            <p:cNvSpPr txBox="1"/>
            <p:nvPr/>
          </p:nvSpPr>
          <p:spPr>
            <a:xfrm>
              <a:off x="3328547" y="4423103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赛事宣发</a:t>
              </a: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20DECD6D-86DE-42F3-BD87-E3CB8F488A4C}"/>
                </a:ext>
              </a:extLst>
            </p:cNvPr>
            <p:cNvSpPr txBox="1"/>
            <p:nvPr/>
          </p:nvSpPr>
          <p:spPr>
            <a:xfrm>
              <a:off x="3328547" y="4869247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赛事筹划（赛道设计，硬件升级）</a:t>
              </a:r>
            </a:p>
          </p:txBody>
        </p:sp>
        <p:sp>
          <p:nvSpPr>
            <p:cNvPr id="50" name="文本框 49">
              <a:extLst>
                <a:ext uri="{FF2B5EF4-FFF2-40B4-BE49-F238E27FC236}">
                  <a16:creationId xmlns:a16="http://schemas.microsoft.com/office/drawing/2014/main" id="{0228D32C-2B2B-4294-8B5E-2F5C85988FA1}"/>
                </a:ext>
              </a:extLst>
            </p:cNvPr>
            <p:cNvSpPr txBox="1"/>
            <p:nvPr/>
          </p:nvSpPr>
          <p:spPr>
            <a:xfrm>
              <a:off x="3328547" y="5315391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人员成本</a:t>
              </a: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F5E7B3F5-7A67-42B1-8025-DDEC0B780EBC}"/>
                </a:ext>
              </a:extLst>
            </p:cNvPr>
            <p:cNvSpPr txBox="1"/>
            <p:nvPr/>
          </p:nvSpPr>
          <p:spPr>
            <a:xfrm>
              <a:off x="3328547" y="5761535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差旅费</a:t>
              </a:r>
            </a:p>
          </p:txBody>
        </p: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62B811E8-D3DA-40AA-A1CE-0D34D7FFFBB7}"/>
                </a:ext>
              </a:extLst>
            </p:cNvPr>
            <p:cNvSpPr txBox="1"/>
            <p:nvPr/>
          </p:nvSpPr>
          <p:spPr>
            <a:xfrm>
              <a:off x="3328547" y="6207683"/>
              <a:ext cx="716418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商务费用</a:t>
              </a:r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0799D80A-2B56-40BE-AA05-3196DEBFD4A8}"/>
                </a:ext>
              </a:extLst>
            </p:cNvPr>
            <p:cNvSpPr txBox="1"/>
            <p:nvPr/>
          </p:nvSpPr>
          <p:spPr>
            <a:xfrm>
              <a:off x="9210714" y="1768395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306104E6-1755-4BF5-8E6A-1C97FD50FF6E}"/>
                </a:ext>
              </a:extLst>
            </p:cNvPr>
            <p:cNvSpPr txBox="1"/>
            <p:nvPr/>
          </p:nvSpPr>
          <p:spPr>
            <a:xfrm>
              <a:off x="9210714" y="2192383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B0FF1A17-ACB3-4C90-93BC-E2A91C163AF3}"/>
                </a:ext>
              </a:extLst>
            </p:cNvPr>
            <p:cNvSpPr txBox="1"/>
            <p:nvPr/>
          </p:nvSpPr>
          <p:spPr>
            <a:xfrm>
              <a:off x="9210714" y="2638527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F145EA40-5663-4D1E-8E35-3838455A0A18}"/>
                </a:ext>
              </a:extLst>
            </p:cNvPr>
            <p:cNvSpPr txBox="1"/>
            <p:nvPr/>
          </p:nvSpPr>
          <p:spPr>
            <a:xfrm>
              <a:off x="9210714" y="3084671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362A2331-DD0C-469D-8087-92DD7AF667C1}"/>
                </a:ext>
              </a:extLst>
            </p:cNvPr>
            <p:cNvSpPr txBox="1"/>
            <p:nvPr/>
          </p:nvSpPr>
          <p:spPr>
            <a:xfrm>
              <a:off x="9210714" y="3530815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F9E3435C-FB46-4909-AA92-EE56D91C44A8}"/>
                </a:ext>
              </a:extLst>
            </p:cNvPr>
            <p:cNvSpPr txBox="1"/>
            <p:nvPr/>
          </p:nvSpPr>
          <p:spPr>
            <a:xfrm>
              <a:off x="9210714" y="3976959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59" name="文本框 58">
              <a:extLst>
                <a:ext uri="{FF2B5EF4-FFF2-40B4-BE49-F238E27FC236}">
                  <a16:creationId xmlns:a16="http://schemas.microsoft.com/office/drawing/2014/main" id="{587FEF1D-8556-484E-A1CF-17ED3B1DD711}"/>
                </a:ext>
              </a:extLst>
            </p:cNvPr>
            <p:cNvSpPr txBox="1"/>
            <p:nvPr/>
          </p:nvSpPr>
          <p:spPr>
            <a:xfrm>
              <a:off x="9210714" y="4423103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60" name="文本框 59">
              <a:extLst>
                <a:ext uri="{FF2B5EF4-FFF2-40B4-BE49-F238E27FC236}">
                  <a16:creationId xmlns:a16="http://schemas.microsoft.com/office/drawing/2014/main" id="{1BE5C587-A516-43E2-BFD3-FD1E6CF2A8FA}"/>
                </a:ext>
              </a:extLst>
            </p:cNvPr>
            <p:cNvSpPr txBox="1"/>
            <p:nvPr/>
          </p:nvSpPr>
          <p:spPr>
            <a:xfrm>
              <a:off x="9210714" y="4869247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D956333A-A51D-426F-8118-0132739FACBE}"/>
                </a:ext>
              </a:extLst>
            </p:cNvPr>
            <p:cNvSpPr txBox="1"/>
            <p:nvPr/>
          </p:nvSpPr>
          <p:spPr>
            <a:xfrm>
              <a:off x="9210714" y="5315391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62" name="文本框 61">
              <a:extLst>
                <a:ext uri="{FF2B5EF4-FFF2-40B4-BE49-F238E27FC236}">
                  <a16:creationId xmlns:a16="http://schemas.microsoft.com/office/drawing/2014/main" id="{010F0418-C8B7-4FC9-8ECA-38C8B63D2299}"/>
                </a:ext>
              </a:extLst>
            </p:cNvPr>
            <p:cNvSpPr txBox="1"/>
            <p:nvPr/>
          </p:nvSpPr>
          <p:spPr>
            <a:xfrm>
              <a:off x="9210714" y="5761535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1D14D0F7-F874-4F87-B414-C23D6E4F2B23}"/>
                </a:ext>
              </a:extLst>
            </p:cNvPr>
            <p:cNvSpPr txBox="1"/>
            <p:nvPr/>
          </p:nvSpPr>
          <p:spPr>
            <a:xfrm>
              <a:off x="9210714" y="6207683"/>
              <a:ext cx="16363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b="1" dirty="0">
                  <a:latin typeface="Agency FB" panose="020B0503020202020204" pitchFamily="34" charset="0"/>
                </a:rPr>
                <a:t>+</a:t>
              </a:r>
              <a:endParaRPr lang="zh-CN" altLang="en-US" b="1" dirty="0">
                <a:latin typeface="Agency FB" panose="020B0503020202020204" pitchFamily="34" charset="0"/>
              </a:endParaRPr>
            </a:p>
          </p:txBody>
        </p:sp>
      </p:grpSp>
      <p:grpSp>
        <p:nvGrpSpPr>
          <p:cNvPr id="66" name="组合 65">
            <a:extLst>
              <a:ext uri="{FF2B5EF4-FFF2-40B4-BE49-F238E27FC236}">
                <a16:creationId xmlns:a16="http://schemas.microsoft.com/office/drawing/2014/main" id="{D2D87168-2332-432C-9721-1B718246AE6C}"/>
              </a:ext>
            </a:extLst>
          </p:cNvPr>
          <p:cNvGrpSpPr/>
          <p:nvPr/>
        </p:nvGrpSpPr>
        <p:grpSpPr>
          <a:xfrm>
            <a:off x="292423" y="146390"/>
            <a:ext cx="712800" cy="712800"/>
            <a:chOff x="8058460" y="5143897"/>
            <a:chExt cx="1291814" cy="1291814"/>
          </a:xfrm>
        </p:grpSpPr>
        <p:sp>
          <p:nvSpPr>
            <p:cNvPr id="67" name="椭圆 66">
              <a:extLst>
                <a:ext uri="{FF2B5EF4-FFF2-40B4-BE49-F238E27FC236}">
                  <a16:creationId xmlns:a16="http://schemas.microsoft.com/office/drawing/2014/main" id="{4DE71A4A-6179-476B-A208-60B27B2065AA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68" name="空心弧 67">
              <a:extLst>
                <a:ext uri="{FF2B5EF4-FFF2-40B4-BE49-F238E27FC236}">
                  <a16:creationId xmlns:a16="http://schemas.microsoft.com/office/drawing/2014/main" id="{6FB99486-36DC-4E06-8EFF-9B765FF248B9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69" name="presentation_323252">
              <a:extLst>
                <a:ext uri="{FF2B5EF4-FFF2-40B4-BE49-F238E27FC236}">
                  <a16:creationId xmlns:a16="http://schemas.microsoft.com/office/drawing/2014/main" id="{932C1FE8-D410-4D34-ACAA-9D1A0B3443C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7855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137054FB-20B8-46A5-9C1F-BB11A048CE5F}"/>
              </a:ext>
            </a:extLst>
          </p:cNvPr>
          <p:cNvSpPr txBox="1"/>
          <p:nvPr/>
        </p:nvSpPr>
        <p:spPr>
          <a:xfrm>
            <a:off x="1071952" y="152481"/>
            <a:ext cx="537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</a:t>
            </a:r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世锦赛初步方案</a:t>
            </a:r>
          </a:p>
        </p:txBody>
      </p:sp>
      <p:sp>
        <p:nvSpPr>
          <p:cNvPr id="9" name="流程图: 过程 8">
            <a:extLst>
              <a:ext uri="{FF2B5EF4-FFF2-40B4-BE49-F238E27FC236}">
                <a16:creationId xmlns:a16="http://schemas.microsoft.com/office/drawing/2014/main" id="{0E399983-930C-496F-A226-68363AECDAC0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6849628-0BE6-4599-B254-C2DFE75A8184}"/>
              </a:ext>
            </a:extLst>
          </p:cNvPr>
          <p:cNvGrpSpPr/>
          <p:nvPr/>
        </p:nvGrpSpPr>
        <p:grpSpPr>
          <a:xfrm>
            <a:off x="292423" y="146390"/>
            <a:ext cx="712800" cy="712800"/>
            <a:chOff x="8058460" y="5143897"/>
            <a:chExt cx="1291814" cy="1291814"/>
          </a:xfrm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82268E99-4BC8-49D6-8591-8BF3DD962834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2" name="空心弧 11">
              <a:extLst>
                <a:ext uri="{FF2B5EF4-FFF2-40B4-BE49-F238E27FC236}">
                  <a16:creationId xmlns:a16="http://schemas.microsoft.com/office/drawing/2014/main" id="{3353C9A5-9599-418D-B5B6-7B0EC8AEEC30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3" name="presentation_323252">
              <a:extLst>
                <a:ext uri="{FF2B5EF4-FFF2-40B4-BE49-F238E27FC236}">
                  <a16:creationId xmlns:a16="http://schemas.microsoft.com/office/drawing/2014/main" id="{91AA8500-E2FC-41BB-BCA3-B5B098DAFF5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14" name="流程图: 过程 13">
            <a:extLst>
              <a:ext uri="{FF2B5EF4-FFF2-40B4-BE49-F238E27FC236}">
                <a16:creationId xmlns:a16="http://schemas.microsoft.com/office/drawing/2014/main" id="{5FC15EEC-86B7-4A6B-A001-7FFD61864333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BED1AEAA-0FDD-44D2-ACFE-E83977376AEF}"/>
              </a:ext>
            </a:extLst>
          </p:cNvPr>
          <p:cNvGrpSpPr/>
          <p:nvPr/>
        </p:nvGrpSpPr>
        <p:grpSpPr>
          <a:xfrm>
            <a:off x="326750" y="1797917"/>
            <a:ext cx="11331917" cy="4446128"/>
            <a:chOff x="326750" y="1797917"/>
            <a:chExt cx="11331917" cy="4446128"/>
          </a:xfrm>
        </p:grpSpPr>
        <p:sp>
          <p:nvSpPr>
            <p:cNvPr id="36" name="19">
              <a:extLst>
                <a:ext uri="{FF2B5EF4-FFF2-40B4-BE49-F238E27FC236}">
                  <a16:creationId xmlns:a16="http://schemas.microsoft.com/office/drawing/2014/main" id="{1F5380D9-AC5C-4B36-894D-AF61AB7519EA}"/>
                </a:ext>
              </a:extLst>
            </p:cNvPr>
            <p:cNvSpPr/>
            <p:nvPr/>
          </p:nvSpPr>
          <p:spPr bwMode="auto">
            <a:xfrm>
              <a:off x="7408417" y="2262374"/>
              <a:ext cx="888376" cy="582162"/>
            </a:xfrm>
            <a:custGeom>
              <a:avLst/>
              <a:gdLst>
                <a:gd name="T0" fmla="*/ 458 w 499"/>
                <a:gd name="T1" fmla="*/ 0 h 327"/>
                <a:gd name="T2" fmla="*/ 474 w 499"/>
                <a:gd name="T3" fmla="*/ 3 h 327"/>
                <a:gd name="T4" fmla="*/ 488 w 499"/>
                <a:gd name="T5" fmla="*/ 13 h 327"/>
                <a:gd name="T6" fmla="*/ 496 w 499"/>
                <a:gd name="T7" fmla="*/ 27 h 327"/>
                <a:gd name="T8" fmla="*/ 499 w 499"/>
                <a:gd name="T9" fmla="*/ 43 h 327"/>
                <a:gd name="T10" fmla="*/ 496 w 499"/>
                <a:gd name="T11" fmla="*/ 58 h 327"/>
                <a:gd name="T12" fmla="*/ 488 w 499"/>
                <a:gd name="T13" fmla="*/ 71 h 327"/>
                <a:gd name="T14" fmla="*/ 474 w 499"/>
                <a:gd name="T15" fmla="*/ 81 h 327"/>
                <a:gd name="T16" fmla="*/ 458 w 499"/>
                <a:gd name="T17" fmla="*/ 84 h 327"/>
                <a:gd name="T18" fmla="*/ 440 w 499"/>
                <a:gd name="T19" fmla="*/ 81 h 327"/>
                <a:gd name="T20" fmla="*/ 427 w 499"/>
                <a:gd name="T21" fmla="*/ 69 h 327"/>
                <a:gd name="T22" fmla="*/ 418 w 499"/>
                <a:gd name="T23" fmla="*/ 55 h 327"/>
                <a:gd name="T24" fmla="*/ 379 w 499"/>
                <a:gd name="T25" fmla="*/ 63 h 327"/>
                <a:gd name="T26" fmla="*/ 341 w 499"/>
                <a:gd name="T27" fmla="*/ 76 h 327"/>
                <a:gd name="T28" fmla="*/ 305 w 499"/>
                <a:gd name="T29" fmla="*/ 94 h 327"/>
                <a:gd name="T30" fmla="*/ 272 w 499"/>
                <a:gd name="T31" fmla="*/ 117 h 327"/>
                <a:gd name="T32" fmla="*/ 79 w 499"/>
                <a:gd name="T33" fmla="*/ 267 h 327"/>
                <a:gd name="T34" fmla="*/ 82 w 499"/>
                <a:gd name="T35" fmla="*/ 276 h 327"/>
                <a:gd name="T36" fmla="*/ 84 w 499"/>
                <a:gd name="T37" fmla="*/ 284 h 327"/>
                <a:gd name="T38" fmla="*/ 80 w 499"/>
                <a:gd name="T39" fmla="*/ 300 h 327"/>
                <a:gd name="T40" fmla="*/ 71 w 499"/>
                <a:gd name="T41" fmla="*/ 314 h 327"/>
                <a:gd name="T42" fmla="*/ 57 w 499"/>
                <a:gd name="T43" fmla="*/ 324 h 327"/>
                <a:gd name="T44" fmla="*/ 41 w 499"/>
                <a:gd name="T45" fmla="*/ 327 h 327"/>
                <a:gd name="T46" fmla="*/ 24 w 499"/>
                <a:gd name="T47" fmla="*/ 324 h 327"/>
                <a:gd name="T48" fmla="*/ 11 w 499"/>
                <a:gd name="T49" fmla="*/ 314 h 327"/>
                <a:gd name="T50" fmla="*/ 3 w 499"/>
                <a:gd name="T51" fmla="*/ 300 h 327"/>
                <a:gd name="T52" fmla="*/ 0 w 499"/>
                <a:gd name="T53" fmla="*/ 284 h 327"/>
                <a:gd name="T54" fmla="*/ 3 w 499"/>
                <a:gd name="T55" fmla="*/ 267 h 327"/>
                <a:gd name="T56" fmla="*/ 11 w 499"/>
                <a:gd name="T57" fmla="*/ 254 h 327"/>
                <a:gd name="T58" fmla="*/ 24 w 499"/>
                <a:gd name="T59" fmla="*/ 246 h 327"/>
                <a:gd name="T60" fmla="*/ 41 w 499"/>
                <a:gd name="T61" fmla="*/ 243 h 327"/>
                <a:gd name="T62" fmla="*/ 51 w 499"/>
                <a:gd name="T63" fmla="*/ 244 h 327"/>
                <a:gd name="T64" fmla="*/ 59 w 499"/>
                <a:gd name="T65" fmla="*/ 246 h 327"/>
                <a:gd name="T66" fmla="*/ 67 w 499"/>
                <a:gd name="T67" fmla="*/ 251 h 327"/>
                <a:gd name="T68" fmla="*/ 258 w 499"/>
                <a:gd name="T69" fmla="*/ 101 h 327"/>
                <a:gd name="T70" fmla="*/ 295 w 499"/>
                <a:gd name="T71" fmla="*/ 76 h 327"/>
                <a:gd name="T72" fmla="*/ 333 w 499"/>
                <a:gd name="T73" fmla="*/ 56 h 327"/>
                <a:gd name="T74" fmla="*/ 374 w 499"/>
                <a:gd name="T75" fmla="*/ 43 h 327"/>
                <a:gd name="T76" fmla="*/ 417 w 499"/>
                <a:gd name="T77" fmla="*/ 35 h 327"/>
                <a:gd name="T78" fmla="*/ 423 w 499"/>
                <a:gd name="T79" fmla="*/ 17 h 327"/>
                <a:gd name="T80" fmla="*/ 438 w 499"/>
                <a:gd name="T81" fmla="*/ 5 h 327"/>
                <a:gd name="T82" fmla="*/ 458 w 499"/>
                <a:gd name="T83" fmla="*/ 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9" h="327">
                  <a:moveTo>
                    <a:pt x="458" y="0"/>
                  </a:moveTo>
                  <a:lnTo>
                    <a:pt x="474" y="3"/>
                  </a:lnTo>
                  <a:lnTo>
                    <a:pt x="488" y="13"/>
                  </a:lnTo>
                  <a:lnTo>
                    <a:pt x="496" y="27"/>
                  </a:lnTo>
                  <a:lnTo>
                    <a:pt x="499" y="43"/>
                  </a:lnTo>
                  <a:lnTo>
                    <a:pt x="496" y="58"/>
                  </a:lnTo>
                  <a:lnTo>
                    <a:pt x="488" y="71"/>
                  </a:lnTo>
                  <a:lnTo>
                    <a:pt x="474" y="81"/>
                  </a:lnTo>
                  <a:lnTo>
                    <a:pt x="458" y="84"/>
                  </a:lnTo>
                  <a:lnTo>
                    <a:pt x="440" y="81"/>
                  </a:lnTo>
                  <a:lnTo>
                    <a:pt x="427" y="69"/>
                  </a:lnTo>
                  <a:lnTo>
                    <a:pt x="418" y="55"/>
                  </a:lnTo>
                  <a:lnTo>
                    <a:pt x="379" y="63"/>
                  </a:lnTo>
                  <a:lnTo>
                    <a:pt x="341" y="76"/>
                  </a:lnTo>
                  <a:lnTo>
                    <a:pt x="305" y="94"/>
                  </a:lnTo>
                  <a:lnTo>
                    <a:pt x="272" y="117"/>
                  </a:lnTo>
                  <a:lnTo>
                    <a:pt x="79" y="267"/>
                  </a:lnTo>
                  <a:lnTo>
                    <a:pt x="82" y="276"/>
                  </a:lnTo>
                  <a:lnTo>
                    <a:pt x="84" y="284"/>
                  </a:lnTo>
                  <a:lnTo>
                    <a:pt x="80" y="300"/>
                  </a:lnTo>
                  <a:lnTo>
                    <a:pt x="71" y="314"/>
                  </a:lnTo>
                  <a:lnTo>
                    <a:pt x="57" y="324"/>
                  </a:lnTo>
                  <a:lnTo>
                    <a:pt x="41" y="327"/>
                  </a:lnTo>
                  <a:lnTo>
                    <a:pt x="24" y="324"/>
                  </a:lnTo>
                  <a:lnTo>
                    <a:pt x="11" y="314"/>
                  </a:lnTo>
                  <a:lnTo>
                    <a:pt x="3" y="300"/>
                  </a:lnTo>
                  <a:lnTo>
                    <a:pt x="0" y="284"/>
                  </a:lnTo>
                  <a:lnTo>
                    <a:pt x="3" y="267"/>
                  </a:lnTo>
                  <a:lnTo>
                    <a:pt x="11" y="254"/>
                  </a:lnTo>
                  <a:lnTo>
                    <a:pt x="24" y="246"/>
                  </a:lnTo>
                  <a:lnTo>
                    <a:pt x="41" y="243"/>
                  </a:lnTo>
                  <a:lnTo>
                    <a:pt x="51" y="244"/>
                  </a:lnTo>
                  <a:lnTo>
                    <a:pt x="59" y="246"/>
                  </a:lnTo>
                  <a:lnTo>
                    <a:pt x="67" y="251"/>
                  </a:lnTo>
                  <a:lnTo>
                    <a:pt x="258" y="101"/>
                  </a:lnTo>
                  <a:lnTo>
                    <a:pt x="295" y="76"/>
                  </a:lnTo>
                  <a:lnTo>
                    <a:pt x="333" y="56"/>
                  </a:lnTo>
                  <a:lnTo>
                    <a:pt x="374" y="43"/>
                  </a:lnTo>
                  <a:lnTo>
                    <a:pt x="417" y="35"/>
                  </a:lnTo>
                  <a:lnTo>
                    <a:pt x="423" y="17"/>
                  </a:lnTo>
                  <a:lnTo>
                    <a:pt x="438" y="5"/>
                  </a:lnTo>
                  <a:lnTo>
                    <a:pt x="45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7" name="18">
              <a:extLst>
                <a:ext uri="{FF2B5EF4-FFF2-40B4-BE49-F238E27FC236}">
                  <a16:creationId xmlns:a16="http://schemas.microsoft.com/office/drawing/2014/main" id="{02FAFBCC-69F3-45BF-9B48-6570813FD24A}"/>
                </a:ext>
              </a:extLst>
            </p:cNvPr>
            <p:cNvSpPr/>
            <p:nvPr/>
          </p:nvSpPr>
          <p:spPr bwMode="auto">
            <a:xfrm>
              <a:off x="7525918" y="3804774"/>
              <a:ext cx="760193" cy="147766"/>
            </a:xfrm>
            <a:custGeom>
              <a:avLst/>
              <a:gdLst>
                <a:gd name="T0" fmla="*/ 42 w 427"/>
                <a:gd name="T1" fmla="*/ 0 h 83"/>
                <a:gd name="T2" fmla="*/ 61 w 427"/>
                <a:gd name="T3" fmla="*/ 3 h 83"/>
                <a:gd name="T4" fmla="*/ 74 w 427"/>
                <a:gd name="T5" fmla="*/ 15 h 83"/>
                <a:gd name="T6" fmla="*/ 82 w 427"/>
                <a:gd name="T7" fmla="*/ 32 h 83"/>
                <a:gd name="T8" fmla="*/ 344 w 427"/>
                <a:gd name="T9" fmla="*/ 32 h 83"/>
                <a:gd name="T10" fmla="*/ 352 w 427"/>
                <a:gd name="T11" fmla="*/ 15 h 83"/>
                <a:gd name="T12" fmla="*/ 367 w 427"/>
                <a:gd name="T13" fmla="*/ 3 h 83"/>
                <a:gd name="T14" fmla="*/ 385 w 427"/>
                <a:gd name="T15" fmla="*/ 0 h 83"/>
                <a:gd name="T16" fmla="*/ 402 w 427"/>
                <a:gd name="T17" fmla="*/ 3 h 83"/>
                <a:gd name="T18" fmla="*/ 415 w 427"/>
                <a:gd name="T19" fmla="*/ 12 h 83"/>
                <a:gd name="T20" fmla="*/ 423 w 427"/>
                <a:gd name="T21" fmla="*/ 25 h 83"/>
                <a:gd name="T22" fmla="*/ 427 w 427"/>
                <a:gd name="T23" fmla="*/ 41 h 83"/>
                <a:gd name="T24" fmla="*/ 423 w 427"/>
                <a:gd name="T25" fmla="*/ 58 h 83"/>
                <a:gd name="T26" fmla="*/ 415 w 427"/>
                <a:gd name="T27" fmla="*/ 71 h 83"/>
                <a:gd name="T28" fmla="*/ 402 w 427"/>
                <a:gd name="T29" fmla="*/ 79 h 83"/>
                <a:gd name="T30" fmla="*/ 385 w 427"/>
                <a:gd name="T31" fmla="*/ 83 h 83"/>
                <a:gd name="T32" fmla="*/ 367 w 427"/>
                <a:gd name="T33" fmla="*/ 79 h 83"/>
                <a:gd name="T34" fmla="*/ 352 w 427"/>
                <a:gd name="T35" fmla="*/ 68 h 83"/>
                <a:gd name="T36" fmla="*/ 344 w 427"/>
                <a:gd name="T37" fmla="*/ 51 h 83"/>
                <a:gd name="T38" fmla="*/ 82 w 427"/>
                <a:gd name="T39" fmla="*/ 51 h 83"/>
                <a:gd name="T40" fmla="*/ 74 w 427"/>
                <a:gd name="T41" fmla="*/ 68 h 83"/>
                <a:gd name="T42" fmla="*/ 61 w 427"/>
                <a:gd name="T43" fmla="*/ 79 h 83"/>
                <a:gd name="T44" fmla="*/ 42 w 427"/>
                <a:gd name="T45" fmla="*/ 83 h 83"/>
                <a:gd name="T46" fmla="*/ 26 w 427"/>
                <a:gd name="T47" fmla="*/ 79 h 83"/>
                <a:gd name="T48" fmla="*/ 13 w 427"/>
                <a:gd name="T49" fmla="*/ 71 h 83"/>
                <a:gd name="T50" fmla="*/ 3 w 427"/>
                <a:gd name="T51" fmla="*/ 58 h 83"/>
                <a:gd name="T52" fmla="*/ 0 w 427"/>
                <a:gd name="T53" fmla="*/ 41 h 83"/>
                <a:gd name="T54" fmla="*/ 3 w 427"/>
                <a:gd name="T55" fmla="*/ 25 h 83"/>
                <a:gd name="T56" fmla="*/ 13 w 427"/>
                <a:gd name="T57" fmla="*/ 12 h 83"/>
                <a:gd name="T58" fmla="*/ 26 w 427"/>
                <a:gd name="T59" fmla="*/ 3 h 83"/>
                <a:gd name="T60" fmla="*/ 42 w 427"/>
                <a:gd name="T6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7" h="83">
                  <a:moveTo>
                    <a:pt x="42" y="0"/>
                  </a:moveTo>
                  <a:lnTo>
                    <a:pt x="61" y="3"/>
                  </a:lnTo>
                  <a:lnTo>
                    <a:pt x="74" y="15"/>
                  </a:lnTo>
                  <a:lnTo>
                    <a:pt x="82" y="32"/>
                  </a:lnTo>
                  <a:lnTo>
                    <a:pt x="344" y="32"/>
                  </a:lnTo>
                  <a:lnTo>
                    <a:pt x="352" y="15"/>
                  </a:lnTo>
                  <a:lnTo>
                    <a:pt x="367" y="3"/>
                  </a:lnTo>
                  <a:lnTo>
                    <a:pt x="385" y="0"/>
                  </a:lnTo>
                  <a:lnTo>
                    <a:pt x="402" y="3"/>
                  </a:lnTo>
                  <a:lnTo>
                    <a:pt x="415" y="12"/>
                  </a:lnTo>
                  <a:lnTo>
                    <a:pt x="423" y="25"/>
                  </a:lnTo>
                  <a:lnTo>
                    <a:pt x="427" y="41"/>
                  </a:lnTo>
                  <a:lnTo>
                    <a:pt x="423" y="58"/>
                  </a:lnTo>
                  <a:lnTo>
                    <a:pt x="415" y="71"/>
                  </a:lnTo>
                  <a:lnTo>
                    <a:pt x="402" y="79"/>
                  </a:lnTo>
                  <a:lnTo>
                    <a:pt x="385" y="83"/>
                  </a:lnTo>
                  <a:lnTo>
                    <a:pt x="367" y="79"/>
                  </a:lnTo>
                  <a:lnTo>
                    <a:pt x="352" y="68"/>
                  </a:lnTo>
                  <a:lnTo>
                    <a:pt x="344" y="51"/>
                  </a:lnTo>
                  <a:lnTo>
                    <a:pt x="82" y="51"/>
                  </a:lnTo>
                  <a:lnTo>
                    <a:pt x="74" y="68"/>
                  </a:lnTo>
                  <a:lnTo>
                    <a:pt x="61" y="79"/>
                  </a:lnTo>
                  <a:lnTo>
                    <a:pt x="42" y="83"/>
                  </a:lnTo>
                  <a:lnTo>
                    <a:pt x="26" y="79"/>
                  </a:lnTo>
                  <a:lnTo>
                    <a:pt x="13" y="71"/>
                  </a:lnTo>
                  <a:lnTo>
                    <a:pt x="3" y="58"/>
                  </a:lnTo>
                  <a:lnTo>
                    <a:pt x="0" y="41"/>
                  </a:lnTo>
                  <a:lnTo>
                    <a:pt x="3" y="25"/>
                  </a:lnTo>
                  <a:lnTo>
                    <a:pt x="13" y="12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8" name="17">
              <a:extLst>
                <a:ext uri="{FF2B5EF4-FFF2-40B4-BE49-F238E27FC236}">
                  <a16:creationId xmlns:a16="http://schemas.microsoft.com/office/drawing/2014/main" id="{4387FFC7-E5AB-4005-B024-C250B94EA748}"/>
                </a:ext>
              </a:extLst>
            </p:cNvPr>
            <p:cNvSpPr/>
            <p:nvPr/>
          </p:nvSpPr>
          <p:spPr bwMode="auto">
            <a:xfrm>
              <a:off x="7401296" y="4913669"/>
              <a:ext cx="890156" cy="580381"/>
            </a:xfrm>
            <a:custGeom>
              <a:avLst/>
              <a:gdLst>
                <a:gd name="T0" fmla="*/ 42 w 500"/>
                <a:gd name="T1" fmla="*/ 0 h 326"/>
                <a:gd name="T2" fmla="*/ 58 w 500"/>
                <a:gd name="T3" fmla="*/ 3 h 326"/>
                <a:gd name="T4" fmla="*/ 71 w 500"/>
                <a:gd name="T5" fmla="*/ 13 h 326"/>
                <a:gd name="T6" fmla="*/ 81 w 500"/>
                <a:gd name="T7" fmla="*/ 26 h 326"/>
                <a:gd name="T8" fmla="*/ 84 w 500"/>
                <a:gd name="T9" fmla="*/ 43 h 326"/>
                <a:gd name="T10" fmla="*/ 83 w 500"/>
                <a:gd name="T11" fmla="*/ 51 h 326"/>
                <a:gd name="T12" fmla="*/ 81 w 500"/>
                <a:gd name="T13" fmla="*/ 59 h 326"/>
                <a:gd name="T14" fmla="*/ 272 w 500"/>
                <a:gd name="T15" fmla="*/ 209 h 326"/>
                <a:gd name="T16" fmla="*/ 305 w 500"/>
                <a:gd name="T17" fmla="*/ 232 h 326"/>
                <a:gd name="T18" fmla="*/ 342 w 500"/>
                <a:gd name="T19" fmla="*/ 251 h 326"/>
                <a:gd name="T20" fmla="*/ 379 w 500"/>
                <a:gd name="T21" fmla="*/ 264 h 326"/>
                <a:gd name="T22" fmla="*/ 419 w 500"/>
                <a:gd name="T23" fmla="*/ 272 h 326"/>
                <a:gd name="T24" fmla="*/ 427 w 500"/>
                <a:gd name="T25" fmla="*/ 257 h 326"/>
                <a:gd name="T26" fmla="*/ 440 w 500"/>
                <a:gd name="T27" fmla="*/ 246 h 326"/>
                <a:gd name="T28" fmla="*/ 459 w 500"/>
                <a:gd name="T29" fmla="*/ 242 h 326"/>
                <a:gd name="T30" fmla="*/ 475 w 500"/>
                <a:gd name="T31" fmla="*/ 246 h 326"/>
                <a:gd name="T32" fmla="*/ 488 w 500"/>
                <a:gd name="T33" fmla="*/ 256 h 326"/>
                <a:gd name="T34" fmla="*/ 497 w 500"/>
                <a:gd name="T35" fmla="*/ 269 h 326"/>
                <a:gd name="T36" fmla="*/ 500 w 500"/>
                <a:gd name="T37" fmla="*/ 284 h 326"/>
                <a:gd name="T38" fmla="*/ 497 w 500"/>
                <a:gd name="T39" fmla="*/ 300 h 326"/>
                <a:gd name="T40" fmla="*/ 488 w 500"/>
                <a:gd name="T41" fmla="*/ 313 h 326"/>
                <a:gd name="T42" fmla="*/ 475 w 500"/>
                <a:gd name="T43" fmla="*/ 323 h 326"/>
                <a:gd name="T44" fmla="*/ 459 w 500"/>
                <a:gd name="T45" fmla="*/ 326 h 326"/>
                <a:gd name="T46" fmla="*/ 439 w 500"/>
                <a:gd name="T47" fmla="*/ 322 h 326"/>
                <a:gd name="T48" fmla="*/ 426 w 500"/>
                <a:gd name="T49" fmla="*/ 310 h 326"/>
                <a:gd name="T50" fmla="*/ 417 w 500"/>
                <a:gd name="T51" fmla="*/ 292 h 326"/>
                <a:gd name="T52" fmla="*/ 375 w 500"/>
                <a:gd name="T53" fmla="*/ 284 h 326"/>
                <a:gd name="T54" fmla="*/ 333 w 500"/>
                <a:gd name="T55" fmla="*/ 269 h 326"/>
                <a:gd name="T56" fmla="*/ 295 w 500"/>
                <a:gd name="T57" fmla="*/ 251 h 326"/>
                <a:gd name="T58" fmla="*/ 259 w 500"/>
                <a:gd name="T59" fmla="*/ 226 h 326"/>
                <a:gd name="T60" fmla="*/ 68 w 500"/>
                <a:gd name="T61" fmla="*/ 76 h 326"/>
                <a:gd name="T62" fmla="*/ 60 w 500"/>
                <a:gd name="T63" fmla="*/ 81 h 326"/>
                <a:gd name="T64" fmla="*/ 51 w 500"/>
                <a:gd name="T65" fmla="*/ 82 h 326"/>
                <a:gd name="T66" fmla="*/ 42 w 500"/>
                <a:gd name="T67" fmla="*/ 84 h 326"/>
                <a:gd name="T68" fmla="*/ 27 w 500"/>
                <a:gd name="T69" fmla="*/ 81 h 326"/>
                <a:gd name="T70" fmla="*/ 12 w 500"/>
                <a:gd name="T71" fmla="*/ 72 h 326"/>
                <a:gd name="T72" fmla="*/ 4 w 500"/>
                <a:gd name="T73" fmla="*/ 59 h 326"/>
                <a:gd name="T74" fmla="*/ 0 w 500"/>
                <a:gd name="T75" fmla="*/ 43 h 326"/>
                <a:gd name="T76" fmla="*/ 4 w 500"/>
                <a:gd name="T77" fmla="*/ 26 h 326"/>
                <a:gd name="T78" fmla="*/ 12 w 500"/>
                <a:gd name="T79" fmla="*/ 13 h 326"/>
                <a:gd name="T80" fmla="*/ 27 w 500"/>
                <a:gd name="T81" fmla="*/ 3 h 326"/>
                <a:gd name="T82" fmla="*/ 42 w 500"/>
                <a:gd name="T83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0" h="326">
                  <a:moveTo>
                    <a:pt x="42" y="0"/>
                  </a:moveTo>
                  <a:lnTo>
                    <a:pt x="58" y="3"/>
                  </a:lnTo>
                  <a:lnTo>
                    <a:pt x="71" y="13"/>
                  </a:lnTo>
                  <a:lnTo>
                    <a:pt x="81" y="26"/>
                  </a:lnTo>
                  <a:lnTo>
                    <a:pt x="84" y="43"/>
                  </a:lnTo>
                  <a:lnTo>
                    <a:pt x="83" y="51"/>
                  </a:lnTo>
                  <a:lnTo>
                    <a:pt x="81" y="59"/>
                  </a:lnTo>
                  <a:lnTo>
                    <a:pt x="272" y="209"/>
                  </a:lnTo>
                  <a:lnTo>
                    <a:pt x="305" y="232"/>
                  </a:lnTo>
                  <a:lnTo>
                    <a:pt x="342" y="251"/>
                  </a:lnTo>
                  <a:lnTo>
                    <a:pt x="379" y="264"/>
                  </a:lnTo>
                  <a:lnTo>
                    <a:pt x="419" y="272"/>
                  </a:lnTo>
                  <a:lnTo>
                    <a:pt x="427" y="257"/>
                  </a:lnTo>
                  <a:lnTo>
                    <a:pt x="440" y="246"/>
                  </a:lnTo>
                  <a:lnTo>
                    <a:pt x="459" y="242"/>
                  </a:lnTo>
                  <a:lnTo>
                    <a:pt x="475" y="246"/>
                  </a:lnTo>
                  <a:lnTo>
                    <a:pt x="488" y="256"/>
                  </a:lnTo>
                  <a:lnTo>
                    <a:pt x="497" y="269"/>
                  </a:lnTo>
                  <a:lnTo>
                    <a:pt x="500" y="284"/>
                  </a:lnTo>
                  <a:lnTo>
                    <a:pt x="497" y="300"/>
                  </a:lnTo>
                  <a:lnTo>
                    <a:pt x="488" y="313"/>
                  </a:lnTo>
                  <a:lnTo>
                    <a:pt x="475" y="323"/>
                  </a:lnTo>
                  <a:lnTo>
                    <a:pt x="459" y="326"/>
                  </a:lnTo>
                  <a:lnTo>
                    <a:pt x="439" y="322"/>
                  </a:lnTo>
                  <a:lnTo>
                    <a:pt x="426" y="310"/>
                  </a:lnTo>
                  <a:lnTo>
                    <a:pt x="417" y="292"/>
                  </a:lnTo>
                  <a:lnTo>
                    <a:pt x="375" y="284"/>
                  </a:lnTo>
                  <a:lnTo>
                    <a:pt x="333" y="269"/>
                  </a:lnTo>
                  <a:lnTo>
                    <a:pt x="295" y="251"/>
                  </a:lnTo>
                  <a:lnTo>
                    <a:pt x="259" y="226"/>
                  </a:lnTo>
                  <a:lnTo>
                    <a:pt x="68" y="76"/>
                  </a:lnTo>
                  <a:lnTo>
                    <a:pt x="60" y="81"/>
                  </a:lnTo>
                  <a:lnTo>
                    <a:pt x="51" y="82"/>
                  </a:lnTo>
                  <a:lnTo>
                    <a:pt x="42" y="84"/>
                  </a:lnTo>
                  <a:lnTo>
                    <a:pt x="27" y="81"/>
                  </a:lnTo>
                  <a:lnTo>
                    <a:pt x="12" y="72"/>
                  </a:lnTo>
                  <a:lnTo>
                    <a:pt x="4" y="59"/>
                  </a:lnTo>
                  <a:lnTo>
                    <a:pt x="0" y="43"/>
                  </a:lnTo>
                  <a:lnTo>
                    <a:pt x="4" y="26"/>
                  </a:lnTo>
                  <a:lnTo>
                    <a:pt x="12" y="13"/>
                  </a:lnTo>
                  <a:lnTo>
                    <a:pt x="27" y="3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3" name="16">
              <a:extLst>
                <a:ext uri="{FF2B5EF4-FFF2-40B4-BE49-F238E27FC236}">
                  <a16:creationId xmlns:a16="http://schemas.microsoft.com/office/drawing/2014/main" id="{E48C9F99-10CF-4D27-88C2-8B41DBB2D744}"/>
                </a:ext>
              </a:extLst>
            </p:cNvPr>
            <p:cNvSpPr/>
            <p:nvPr/>
          </p:nvSpPr>
          <p:spPr bwMode="auto">
            <a:xfrm>
              <a:off x="3697527" y="2262374"/>
              <a:ext cx="888376" cy="582162"/>
            </a:xfrm>
            <a:custGeom>
              <a:avLst/>
              <a:gdLst>
                <a:gd name="connsiteX0" fmla="*/ 66675 w 793750"/>
                <a:gd name="connsiteY0" fmla="*/ 0 h 515937"/>
                <a:gd name="connsiteX1" fmla="*/ 92075 w 793750"/>
                <a:gd name="connsiteY1" fmla="*/ 4762 h 515937"/>
                <a:gd name="connsiteX2" fmla="*/ 112712 w 793750"/>
                <a:gd name="connsiteY2" fmla="*/ 19050 h 515937"/>
                <a:gd name="connsiteX3" fmla="*/ 128587 w 793750"/>
                <a:gd name="connsiteY3" fmla="*/ 39687 h 515937"/>
                <a:gd name="connsiteX4" fmla="*/ 131499 w 793750"/>
                <a:gd name="connsiteY4" fmla="*/ 55214 h 515937"/>
                <a:gd name="connsiteX5" fmla="*/ 152400 w 793750"/>
                <a:gd name="connsiteY5" fmla="*/ 57149 h 515937"/>
                <a:gd name="connsiteX6" fmla="*/ 233362 w 793750"/>
                <a:gd name="connsiteY6" fmla="*/ 79374 h 515937"/>
                <a:gd name="connsiteX7" fmla="*/ 311150 w 793750"/>
                <a:gd name="connsiteY7" fmla="*/ 112712 h 515937"/>
                <a:gd name="connsiteX8" fmla="*/ 382588 w 793750"/>
                <a:gd name="connsiteY8" fmla="*/ 160337 h 515937"/>
                <a:gd name="connsiteX9" fmla="*/ 688000 w 793750"/>
                <a:gd name="connsiteY9" fmla="*/ 398940 h 515937"/>
                <a:gd name="connsiteX10" fmla="*/ 701675 w 793750"/>
                <a:gd name="connsiteY10" fmla="*/ 390525 h 515937"/>
                <a:gd name="connsiteX11" fmla="*/ 728663 w 793750"/>
                <a:gd name="connsiteY11" fmla="*/ 385762 h 515937"/>
                <a:gd name="connsiteX12" fmla="*/ 754063 w 793750"/>
                <a:gd name="connsiteY12" fmla="*/ 390525 h 515937"/>
                <a:gd name="connsiteX13" fmla="*/ 774700 w 793750"/>
                <a:gd name="connsiteY13" fmla="*/ 403225 h 515937"/>
                <a:gd name="connsiteX14" fmla="*/ 788988 w 793750"/>
                <a:gd name="connsiteY14" fmla="*/ 423862 h 515937"/>
                <a:gd name="connsiteX15" fmla="*/ 793750 w 793750"/>
                <a:gd name="connsiteY15" fmla="*/ 450850 h 515937"/>
                <a:gd name="connsiteX16" fmla="*/ 788988 w 793750"/>
                <a:gd name="connsiteY16" fmla="*/ 476250 h 515937"/>
                <a:gd name="connsiteX17" fmla="*/ 774700 w 793750"/>
                <a:gd name="connsiteY17" fmla="*/ 498475 h 515937"/>
                <a:gd name="connsiteX18" fmla="*/ 754063 w 793750"/>
                <a:gd name="connsiteY18" fmla="*/ 511175 h 515937"/>
                <a:gd name="connsiteX19" fmla="*/ 728663 w 793750"/>
                <a:gd name="connsiteY19" fmla="*/ 515937 h 515937"/>
                <a:gd name="connsiteX20" fmla="*/ 701675 w 793750"/>
                <a:gd name="connsiteY20" fmla="*/ 511175 h 515937"/>
                <a:gd name="connsiteX21" fmla="*/ 681038 w 793750"/>
                <a:gd name="connsiteY21" fmla="*/ 498475 h 515937"/>
                <a:gd name="connsiteX22" fmla="*/ 665163 w 793750"/>
                <a:gd name="connsiteY22" fmla="*/ 476250 h 515937"/>
                <a:gd name="connsiteX23" fmla="*/ 660400 w 793750"/>
                <a:gd name="connsiteY23" fmla="*/ 450850 h 515937"/>
                <a:gd name="connsiteX24" fmla="*/ 665163 w 793750"/>
                <a:gd name="connsiteY24" fmla="*/ 423862 h 515937"/>
                <a:gd name="connsiteX25" fmla="*/ 665759 w 793750"/>
                <a:gd name="connsiteY25" fmla="*/ 423088 h 515937"/>
                <a:gd name="connsiteX26" fmla="*/ 361950 w 793750"/>
                <a:gd name="connsiteY26" fmla="*/ 185737 h 515937"/>
                <a:gd name="connsiteX27" fmla="*/ 296862 w 793750"/>
                <a:gd name="connsiteY27" fmla="*/ 141287 h 515937"/>
                <a:gd name="connsiteX28" fmla="*/ 222250 w 793750"/>
                <a:gd name="connsiteY28" fmla="*/ 109537 h 515937"/>
                <a:gd name="connsiteX29" fmla="*/ 147637 w 793750"/>
                <a:gd name="connsiteY29" fmla="*/ 88899 h 515937"/>
                <a:gd name="connsiteX30" fmla="*/ 129462 w 793750"/>
                <a:gd name="connsiteY30" fmla="*/ 87118 h 515937"/>
                <a:gd name="connsiteX31" fmla="*/ 128587 w 793750"/>
                <a:gd name="connsiteY31" fmla="*/ 92075 h 515937"/>
                <a:gd name="connsiteX32" fmla="*/ 112712 w 793750"/>
                <a:gd name="connsiteY32" fmla="*/ 112712 h 515937"/>
                <a:gd name="connsiteX33" fmla="*/ 92075 w 793750"/>
                <a:gd name="connsiteY33" fmla="*/ 128587 h 515937"/>
                <a:gd name="connsiteX34" fmla="*/ 66675 w 793750"/>
                <a:gd name="connsiteY34" fmla="*/ 133350 h 515937"/>
                <a:gd name="connsiteX35" fmla="*/ 39687 w 793750"/>
                <a:gd name="connsiteY35" fmla="*/ 128587 h 515937"/>
                <a:gd name="connsiteX36" fmla="*/ 19050 w 793750"/>
                <a:gd name="connsiteY36" fmla="*/ 112712 h 515937"/>
                <a:gd name="connsiteX37" fmla="*/ 6350 w 793750"/>
                <a:gd name="connsiteY37" fmla="*/ 92075 h 515937"/>
                <a:gd name="connsiteX38" fmla="*/ 0 w 793750"/>
                <a:gd name="connsiteY38" fmla="*/ 65087 h 515937"/>
                <a:gd name="connsiteX39" fmla="*/ 6350 w 793750"/>
                <a:gd name="connsiteY39" fmla="*/ 39687 h 515937"/>
                <a:gd name="connsiteX40" fmla="*/ 19050 w 793750"/>
                <a:gd name="connsiteY40" fmla="*/ 19050 h 515937"/>
                <a:gd name="connsiteX41" fmla="*/ 39687 w 793750"/>
                <a:gd name="connsiteY41" fmla="*/ 4762 h 515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793750" h="515937">
                  <a:moveTo>
                    <a:pt x="66675" y="0"/>
                  </a:moveTo>
                  <a:lnTo>
                    <a:pt x="92075" y="4762"/>
                  </a:lnTo>
                  <a:lnTo>
                    <a:pt x="112712" y="19050"/>
                  </a:lnTo>
                  <a:lnTo>
                    <a:pt x="128587" y="39687"/>
                  </a:lnTo>
                  <a:lnTo>
                    <a:pt x="131499" y="55214"/>
                  </a:lnTo>
                  <a:lnTo>
                    <a:pt x="152400" y="57149"/>
                  </a:lnTo>
                  <a:lnTo>
                    <a:pt x="233362" y="79374"/>
                  </a:lnTo>
                  <a:lnTo>
                    <a:pt x="311150" y="112712"/>
                  </a:lnTo>
                  <a:lnTo>
                    <a:pt x="382588" y="160337"/>
                  </a:lnTo>
                  <a:lnTo>
                    <a:pt x="688000" y="398940"/>
                  </a:lnTo>
                  <a:lnTo>
                    <a:pt x="701675" y="390525"/>
                  </a:lnTo>
                  <a:lnTo>
                    <a:pt x="728663" y="385762"/>
                  </a:lnTo>
                  <a:lnTo>
                    <a:pt x="754063" y="390525"/>
                  </a:lnTo>
                  <a:lnTo>
                    <a:pt x="774700" y="403225"/>
                  </a:lnTo>
                  <a:lnTo>
                    <a:pt x="788988" y="423862"/>
                  </a:lnTo>
                  <a:lnTo>
                    <a:pt x="793750" y="450850"/>
                  </a:lnTo>
                  <a:lnTo>
                    <a:pt x="788988" y="476250"/>
                  </a:lnTo>
                  <a:lnTo>
                    <a:pt x="774700" y="498475"/>
                  </a:lnTo>
                  <a:lnTo>
                    <a:pt x="754063" y="511175"/>
                  </a:lnTo>
                  <a:lnTo>
                    <a:pt x="728663" y="515937"/>
                  </a:lnTo>
                  <a:lnTo>
                    <a:pt x="701675" y="511175"/>
                  </a:lnTo>
                  <a:lnTo>
                    <a:pt x="681038" y="498475"/>
                  </a:lnTo>
                  <a:lnTo>
                    <a:pt x="665163" y="476250"/>
                  </a:lnTo>
                  <a:lnTo>
                    <a:pt x="660400" y="450850"/>
                  </a:lnTo>
                  <a:lnTo>
                    <a:pt x="665163" y="423862"/>
                  </a:lnTo>
                  <a:lnTo>
                    <a:pt x="665759" y="423088"/>
                  </a:lnTo>
                  <a:lnTo>
                    <a:pt x="361950" y="185737"/>
                  </a:lnTo>
                  <a:lnTo>
                    <a:pt x="296862" y="141287"/>
                  </a:lnTo>
                  <a:lnTo>
                    <a:pt x="222250" y="109537"/>
                  </a:lnTo>
                  <a:lnTo>
                    <a:pt x="147637" y="88899"/>
                  </a:lnTo>
                  <a:lnTo>
                    <a:pt x="129462" y="87118"/>
                  </a:lnTo>
                  <a:lnTo>
                    <a:pt x="128587" y="92075"/>
                  </a:lnTo>
                  <a:lnTo>
                    <a:pt x="112712" y="112712"/>
                  </a:lnTo>
                  <a:lnTo>
                    <a:pt x="92075" y="128587"/>
                  </a:lnTo>
                  <a:lnTo>
                    <a:pt x="66675" y="133350"/>
                  </a:lnTo>
                  <a:lnTo>
                    <a:pt x="39687" y="128587"/>
                  </a:lnTo>
                  <a:lnTo>
                    <a:pt x="19050" y="112712"/>
                  </a:lnTo>
                  <a:lnTo>
                    <a:pt x="6350" y="92075"/>
                  </a:lnTo>
                  <a:lnTo>
                    <a:pt x="0" y="65087"/>
                  </a:lnTo>
                  <a:lnTo>
                    <a:pt x="6350" y="39687"/>
                  </a:lnTo>
                  <a:lnTo>
                    <a:pt x="19050" y="19050"/>
                  </a:lnTo>
                  <a:lnTo>
                    <a:pt x="39687" y="476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4" name="15">
              <a:extLst>
                <a:ext uri="{FF2B5EF4-FFF2-40B4-BE49-F238E27FC236}">
                  <a16:creationId xmlns:a16="http://schemas.microsoft.com/office/drawing/2014/main" id="{58BBBF19-9BE8-452E-8E51-01E9B28F91CE}"/>
                </a:ext>
              </a:extLst>
            </p:cNvPr>
            <p:cNvSpPr/>
            <p:nvPr/>
          </p:nvSpPr>
          <p:spPr bwMode="auto">
            <a:xfrm>
              <a:off x="3697526" y="3804774"/>
              <a:ext cx="760193" cy="147766"/>
            </a:xfrm>
            <a:custGeom>
              <a:avLst/>
              <a:gdLst>
                <a:gd name="T0" fmla="*/ 42 w 427"/>
                <a:gd name="T1" fmla="*/ 0 h 83"/>
                <a:gd name="T2" fmla="*/ 60 w 427"/>
                <a:gd name="T3" fmla="*/ 3 h 83"/>
                <a:gd name="T4" fmla="*/ 74 w 427"/>
                <a:gd name="T5" fmla="*/ 15 h 83"/>
                <a:gd name="T6" fmla="*/ 83 w 427"/>
                <a:gd name="T7" fmla="*/ 32 h 83"/>
                <a:gd name="T8" fmla="*/ 345 w 427"/>
                <a:gd name="T9" fmla="*/ 32 h 83"/>
                <a:gd name="T10" fmla="*/ 353 w 427"/>
                <a:gd name="T11" fmla="*/ 15 h 83"/>
                <a:gd name="T12" fmla="*/ 366 w 427"/>
                <a:gd name="T13" fmla="*/ 3 h 83"/>
                <a:gd name="T14" fmla="*/ 384 w 427"/>
                <a:gd name="T15" fmla="*/ 0 h 83"/>
                <a:gd name="T16" fmla="*/ 401 w 427"/>
                <a:gd name="T17" fmla="*/ 3 h 83"/>
                <a:gd name="T18" fmla="*/ 414 w 427"/>
                <a:gd name="T19" fmla="*/ 12 h 83"/>
                <a:gd name="T20" fmla="*/ 424 w 427"/>
                <a:gd name="T21" fmla="*/ 25 h 83"/>
                <a:gd name="T22" fmla="*/ 427 w 427"/>
                <a:gd name="T23" fmla="*/ 41 h 83"/>
                <a:gd name="T24" fmla="*/ 424 w 427"/>
                <a:gd name="T25" fmla="*/ 58 h 83"/>
                <a:gd name="T26" fmla="*/ 414 w 427"/>
                <a:gd name="T27" fmla="*/ 71 h 83"/>
                <a:gd name="T28" fmla="*/ 401 w 427"/>
                <a:gd name="T29" fmla="*/ 79 h 83"/>
                <a:gd name="T30" fmla="*/ 384 w 427"/>
                <a:gd name="T31" fmla="*/ 83 h 83"/>
                <a:gd name="T32" fmla="*/ 366 w 427"/>
                <a:gd name="T33" fmla="*/ 79 h 83"/>
                <a:gd name="T34" fmla="*/ 353 w 427"/>
                <a:gd name="T35" fmla="*/ 68 h 83"/>
                <a:gd name="T36" fmla="*/ 345 w 427"/>
                <a:gd name="T37" fmla="*/ 51 h 83"/>
                <a:gd name="T38" fmla="*/ 83 w 427"/>
                <a:gd name="T39" fmla="*/ 51 h 83"/>
                <a:gd name="T40" fmla="*/ 74 w 427"/>
                <a:gd name="T41" fmla="*/ 68 h 83"/>
                <a:gd name="T42" fmla="*/ 60 w 427"/>
                <a:gd name="T43" fmla="*/ 79 h 83"/>
                <a:gd name="T44" fmla="*/ 42 w 427"/>
                <a:gd name="T45" fmla="*/ 83 h 83"/>
                <a:gd name="T46" fmla="*/ 25 w 427"/>
                <a:gd name="T47" fmla="*/ 79 h 83"/>
                <a:gd name="T48" fmla="*/ 12 w 427"/>
                <a:gd name="T49" fmla="*/ 71 h 83"/>
                <a:gd name="T50" fmla="*/ 4 w 427"/>
                <a:gd name="T51" fmla="*/ 58 h 83"/>
                <a:gd name="T52" fmla="*/ 0 w 427"/>
                <a:gd name="T53" fmla="*/ 41 h 83"/>
                <a:gd name="T54" fmla="*/ 4 w 427"/>
                <a:gd name="T55" fmla="*/ 25 h 83"/>
                <a:gd name="T56" fmla="*/ 12 w 427"/>
                <a:gd name="T57" fmla="*/ 12 h 83"/>
                <a:gd name="T58" fmla="*/ 25 w 427"/>
                <a:gd name="T59" fmla="*/ 3 h 83"/>
                <a:gd name="T60" fmla="*/ 42 w 427"/>
                <a:gd name="T6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27" h="83">
                  <a:moveTo>
                    <a:pt x="42" y="0"/>
                  </a:moveTo>
                  <a:lnTo>
                    <a:pt x="60" y="3"/>
                  </a:lnTo>
                  <a:lnTo>
                    <a:pt x="74" y="15"/>
                  </a:lnTo>
                  <a:lnTo>
                    <a:pt x="83" y="32"/>
                  </a:lnTo>
                  <a:lnTo>
                    <a:pt x="345" y="32"/>
                  </a:lnTo>
                  <a:lnTo>
                    <a:pt x="353" y="15"/>
                  </a:lnTo>
                  <a:lnTo>
                    <a:pt x="366" y="3"/>
                  </a:lnTo>
                  <a:lnTo>
                    <a:pt x="384" y="0"/>
                  </a:lnTo>
                  <a:lnTo>
                    <a:pt x="401" y="3"/>
                  </a:lnTo>
                  <a:lnTo>
                    <a:pt x="414" y="12"/>
                  </a:lnTo>
                  <a:lnTo>
                    <a:pt x="424" y="25"/>
                  </a:lnTo>
                  <a:lnTo>
                    <a:pt x="427" y="41"/>
                  </a:lnTo>
                  <a:lnTo>
                    <a:pt x="424" y="58"/>
                  </a:lnTo>
                  <a:lnTo>
                    <a:pt x="414" y="71"/>
                  </a:lnTo>
                  <a:lnTo>
                    <a:pt x="401" y="79"/>
                  </a:lnTo>
                  <a:lnTo>
                    <a:pt x="384" y="83"/>
                  </a:lnTo>
                  <a:lnTo>
                    <a:pt x="366" y="79"/>
                  </a:lnTo>
                  <a:lnTo>
                    <a:pt x="353" y="68"/>
                  </a:lnTo>
                  <a:lnTo>
                    <a:pt x="345" y="51"/>
                  </a:lnTo>
                  <a:lnTo>
                    <a:pt x="83" y="51"/>
                  </a:lnTo>
                  <a:lnTo>
                    <a:pt x="74" y="68"/>
                  </a:lnTo>
                  <a:lnTo>
                    <a:pt x="60" y="79"/>
                  </a:lnTo>
                  <a:lnTo>
                    <a:pt x="42" y="83"/>
                  </a:lnTo>
                  <a:lnTo>
                    <a:pt x="25" y="79"/>
                  </a:lnTo>
                  <a:lnTo>
                    <a:pt x="12" y="71"/>
                  </a:lnTo>
                  <a:lnTo>
                    <a:pt x="4" y="58"/>
                  </a:lnTo>
                  <a:lnTo>
                    <a:pt x="0" y="41"/>
                  </a:lnTo>
                  <a:lnTo>
                    <a:pt x="4" y="25"/>
                  </a:lnTo>
                  <a:lnTo>
                    <a:pt x="12" y="12"/>
                  </a:lnTo>
                  <a:lnTo>
                    <a:pt x="25" y="3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5" name="14">
              <a:extLst>
                <a:ext uri="{FF2B5EF4-FFF2-40B4-BE49-F238E27FC236}">
                  <a16:creationId xmlns:a16="http://schemas.microsoft.com/office/drawing/2014/main" id="{9E01F951-8646-46E3-8D90-97CAD18D5921}"/>
                </a:ext>
              </a:extLst>
            </p:cNvPr>
            <p:cNvSpPr/>
            <p:nvPr/>
          </p:nvSpPr>
          <p:spPr bwMode="auto">
            <a:xfrm>
              <a:off x="3688625" y="4913669"/>
              <a:ext cx="890156" cy="580381"/>
            </a:xfrm>
            <a:custGeom>
              <a:avLst/>
              <a:gdLst>
                <a:gd name="T0" fmla="*/ 459 w 500"/>
                <a:gd name="T1" fmla="*/ 0 h 327"/>
                <a:gd name="T2" fmla="*/ 475 w 500"/>
                <a:gd name="T3" fmla="*/ 4 h 327"/>
                <a:gd name="T4" fmla="*/ 488 w 500"/>
                <a:gd name="T5" fmla="*/ 14 h 327"/>
                <a:gd name="T6" fmla="*/ 497 w 500"/>
                <a:gd name="T7" fmla="*/ 27 h 327"/>
                <a:gd name="T8" fmla="*/ 500 w 500"/>
                <a:gd name="T9" fmla="*/ 43 h 327"/>
                <a:gd name="T10" fmla="*/ 497 w 500"/>
                <a:gd name="T11" fmla="*/ 60 h 327"/>
                <a:gd name="T12" fmla="*/ 488 w 500"/>
                <a:gd name="T13" fmla="*/ 73 h 327"/>
                <a:gd name="T14" fmla="*/ 475 w 500"/>
                <a:gd name="T15" fmla="*/ 81 h 327"/>
                <a:gd name="T16" fmla="*/ 459 w 500"/>
                <a:gd name="T17" fmla="*/ 84 h 327"/>
                <a:gd name="T18" fmla="*/ 449 w 500"/>
                <a:gd name="T19" fmla="*/ 83 h 327"/>
                <a:gd name="T20" fmla="*/ 441 w 500"/>
                <a:gd name="T21" fmla="*/ 81 h 327"/>
                <a:gd name="T22" fmla="*/ 434 w 500"/>
                <a:gd name="T23" fmla="*/ 76 h 327"/>
                <a:gd name="T24" fmla="*/ 241 w 500"/>
                <a:gd name="T25" fmla="*/ 226 h 327"/>
                <a:gd name="T26" fmla="*/ 206 w 500"/>
                <a:gd name="T27" fmla="*/ 251 h 327"/>
                <a:gd name="T28" fmla="*/ 167 w 500"/>
                <a:gd name="T29" fmla="*/ 269 h 327"/>
                <a:gd name="T30" fmla="*/ 126 w 500"/>
                <a:gd name="T31" fmla="*/ 284 h 327"/>
                <a:gd name="T32" fmla="*/ 84 w 500"/>
                <a:gd name="T33" fmla="*/ 292 h 327"/>
                <a:gd name="T34" fmla="*/ 76 w 500"/>
                <a:gd name="T35" fmla="*/ 311 h 327"/>
                <a:gd name="T36" fmla="*/ 61 w 500"/>
                <a:gd name="T37" fmla="*/ 322 h 327"/>
                <a:gd name="T38" fmla="*/ 43 w 500"/>
                <a:gd name="T39" fmla="*/ 327 h 327"/>
                <a:gd name="T40" fmla="*/ 27 w 500"/>
                <a:gd name="T41" fmla="*/ 324 h 327"/>
                <a:gd name="T42" fmla="*/ 14 w 500"/>
                <a:gd name="T43" fmla="*/ 314 h 327"/>
                <a:gd name="T44" fmla="*/ 4 w 500"/>
                <a:gd name="T45" fmla="*/ 301 h 327"/>
                <a:gd name="T46" fmla="*/ 0 w 500"/>
                <a:gd name="T47" fmla="*/ 284 h 327"/>
                <a:gd name="T48" fmla="*/ 4 w 500"/>
                <a:gd name="T49" fmla="*/ 269 h 327"/>
                <a:gd name="T50" fmla="*/ 14 w 500"/>
                <a:gd name="T51" fmla="*/ 254 h 327"/>
                <a:gd name="T52" fmla="*/ 27 w 500"/>
                <a:gd name="T53" fmla="*/ 246 h 327"/>
                <a:gd name="T54" fmla="*/ 43 w 500"/>
                <a:gd name="T55" fmla="*/ 243 h 327"/>
                <a:gd name="T56" fmla="*/ 60 w 500"/>
                <a:gd name="T57" fmla="*/ 246 h 327"/>
                <a:gd name="T58" fmla="*/ 75 w 500"/>
                <a:gd name="T59" fmla="*/ 258 h 327"/>
                <a:gd name="T60" fmla="*/ 83 w 500"/>
                <a:gd name="T61" fmla="*/ 273 h 327"/>
                <a:gd name="T62" fmla="*/ 122 w 500"/>
                <a:gd name="T63" fmla="*/ 264 h 327"/>
                <a:gd name="T64" fmla="*/ 160 w 500"/>
                <a:gd name="T65" fmla="*/ 251 h 327"/>
                <a:gd name="T66" fmla="*/ 195 w 500"/>
                <a:gd name="T67" fmla="*/ 233 h 327"/>
                <a:gd name="T68" fmla="*/ 230 w 500"/>
                <a:gd name="T69" fmla="*/ 210 h 327"/>
                <a:gd name="T70" fmla="*/ 421 w 500"/>
                <a:gd name="T71" fmla="*/ 60 h 327"/>
                <a:gd name="T72" fmla="*/ 417 w 500"/>
                <a:gd name="T73" fmla="*/ 51 h 327"/>
                <a:gd name="T74" fmla="*/ 417 w 500"/>
                <a:gd name="T75" fmla="*/ 43 h 327"/>
                <a:gd name="T76" fmla="*/ 421 w 500"/>
                <a:gd name="T77" fmla="*/ 27 h 327"/>
                <a:gd name="T78" fmla="*/ 429 w 500"/>
                <a:gd name="T79" fmla="*/ 14 h 327"/>
                <a:gd name="T80" fmla="*/ 442 w 500"/>
                <a:gd name="T81" fmla="*/ 4 h 327"/>
                <a:gd name="T82" fmla="*/ 459 w 500"/>
                <a:gd name="T83" fmla="*/ 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0" h="327">
                  <a:moveTo>
                    <a:pt x="459" y="0"/>
                  </a:moveTo>
                  <a:lnTo>
                    <a:pt x="475" y="4"/>
                  </a:lnTo>
                  <a:lnTo>
                    <a:pt x="488" y="14"/>
                  </a:lnTo>
                  <a:lnTo>
                    <a:pt x="497" y="27"/>
                  </a:lnTo>
                  <a:lnTo>
                    <a:pt x="500" y="43"/>
                  </a:lnTo>
                  <a:lnTo>
                    <a:pt x="497" y="60"/>
                  </a:lnTo>
                  <a:lnTo>
                    <a:pt x="488" y="73"/>
                  </a:lnTo>
                  <a:lnTo>
                    <a:pt x="475" y="81"/>
                  </a:lnTo>
                  <a:lnTo>
                    <a:pt x="459" y="84"/>
                  </a:lnTo>
                  <a:lnTo>
                    <a:pt x="449" y="83"/>
                  </a:lnTo>
                  <a:lnTo>
                    <a:pt x="441" y="81"/>
                  </a:lnTo>
                  <a:lnTo>
                    <a:pt x="434" y="76"/>
                  </a:lnTo>
                  <a:lnTo>
                    <a:pt x="241" y="226"/>
                  </a:lnTo>
                  <a:lnTo>
                    <a:pt x="206" y="251"/>
                  </a:lnTo>
                  <a:lnTo>
                    <a:pt x="167" y="269"/>
                  </a:lnTo>
                  <a:lnTo>
                    <a:pt x="126" y="284"/>
                  </a:lnTo>
                  <a:lnTo>
                    <a:pt x="84" y="292"/>
                  </a:lnTo>
                  <a:lnTo>
                    <a:pt x="76" y="311"/>
                  </a:lnTo>
                  <a:lnTo>
                    <a:pt x="61" y="322"/>
                  </a:lnTo>
                  <a:lnTo>
                    <a:pt x="43" y="327"/>
                  </a:lnTo>
                  <a:lnTo>
                    <a:pt x="27" y="324"/>
                  </a:lnTo>
                  <a:lnTo>
                    <a:pt x="14" y="314"/>
                  </a:lnTo>
                  <a:lnTo>
                    <a:pt x="4" y="301"/>
                  </a:lnTo>
                  <a:lnTo>
                    <a:pt x="0" y="284"/>
                  </a:lnTo>
                  <a:lnTo>
                    <a:pt x="4" y="269"/>
                  </a:lnTo>
                  <a:lnTo>
                    <a:pt x="14" y="254"/>
                  </a:lnTo>
                  <a:lnTo>
                    <a:pt x="27" y="246"/>
                  </a:lnTo>
                  <a:lnTo>
                    <a:pt x="43" y="243"/>
                  </a:lnTo>
                  <a:lnTo>
                    <a:pt x="60" y="246"/>
                  </a:lnTo>
                  <a:lnTo>
                    <a:pt x="75" y="258"/>
                  </a:lnTo>
                  <a:lnTo>
                    <a:pt x="83" y="273"/>
                  </a:lnTo>
                  <a:lnTo>
                    <a:pt x="122" y="264"/>
                  </a:lnTo>
                  <a:lnTo>
                    <a:pt x="160" y="251"/>
                  </a:lnTo>
                  <a:lnTo>
                    <a:pt x="195" y="233"/>
                  </a:lnTo>
                  <a:lnTo>
                    <a:pt x="230" y="210"/>
                  </a:lnTo>
                  <a:lnTo>
                    <a:pt x="421" y="60"/>
                  </a:lnTo>
                  <a:lnTo>
                    <a:pt x="417" y="51"/>
                  </a:lnTo>
                  <a:lnTo>
                    <a:pt x="417" y="43"/>
                  </a:lnTo>
                  <a:lnTo>
                    <a:pt x="421" y="27"/>
                  </a:lnTo>
                  <a:lnTo>
                    <a:pt x="429" y="14"/>
                  </a:lnTo>
                  <a:lnTo>
                    <a:pt x="442" y="4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6" name="13">
              <a:extLst>
                <a:ext uri="{FF2B5EF4-FFF2-40B4-BE49-F238E27FC236}">
                  <a16:creationId xmlns:a16="http://schemas.microsoft.com/office/drawing/2014/main" id="{B20CB73A-08C5-4E9B-92F4-9500011DC696}"/>
                </a:ext>
              </a:extLst>
            </p:cNvPr>
            <p:cNvSpPr/>
            <p:nvPr/>
          </p:nvSpPr>
          <p:spPr bwMode="auto">
            <a:xfrm>
              <a:off x="6017634" y="2616861"/>
              <a:ext cx="1057505" cy="728148"/>
            </a:xfrm>
            <a:custGeom>
              <a:avLst/>
              <a:gdLst>
                <a:gd name="T0" fmla="*/ 0 w 594"/>
                <a:gd name="T1" fmla="*/ 0 h 409"/>
                <a:gd name="T2" fmla="*/ 83 w 594"/>
                <a:gd name="T3" fmla="*/ 5 h 409"/>
                <a:gd name="T4" fmla="*/ 162 w 594"/>
                <a:gd name="T5" fmla="*/ 19 h 409"/>
                <a:gd name="T6" fmla="*/ 238 w 594"/>
                <a:gd name="T7" fmla="*/ 43 h 409"/>
                <a:gd name="T8" fmla="*/ 308 w 594"/>
                <a:gd name="T9" fmla="*/ 74 h 409"/>
                <a:gd name="T10" fmla="*/ 376 w 594"/>
                <a:gd name="T11" fmla="*/ 112 h 409"/>
                <a:gd name="T12" fmla="*/ 439 w 594"/>
                <a:gd name="T13" fmla="*/ 158 h 409"/>
                <a:gd name="T14" fmla="*/ 496 w 594"/>
                <a:gd name="T15" fmla="*/ 212 h 409"/>
                <a:gd name="T16" fmla="*/ 547 w 594"/>
                <a:gd name="T17" fmla="*/ 274 h 409"/>
                <a:gd name="T18" fmla="*/ 594 w 594"/>
                <a:gd name="T19" fmla="*/ 341 h 409"/>
                <a:gd name="T20" fmla="*/ 478 w 594"/>
                <a:gd name="T21" fmla="*/ 409 h 409"/>
                <a:gd name="T22" fmla="*/ 437 w 594"/>
                <a:gd name="T23" fmla="*/ 351 h 409"/>
                <a:gd name="T24" fmla="*/ 391 w 594"/>
                <a:gd name="T25" fmla="*/ 298 h 409"/>
                <a:gd name="T26" fmla="*/ 336 w 594"/>
                <a:gd name="T27" fmla="*/ 252 h 409"/>
                <a:gd name="T28" fmla="*/ 279 w 594"/>
                <a:gd name="T29" fmla="*/ 212 h 409"/>
                <a:gd name="T30" fmla="*/ 214 w 594"/>
                <a:gd name="T31" fmla="*/ 179 h 409"/>
                <a:gd name="T32" fmla="*/ 147 w 594"/>
                <a:gd name="T33" fmla="*/ 155 h 409"/>
                <a:gd name="T34" fmla="*/ 76 w 594"/>
                <a:gd name="T35" fmla="*/ 140 h 409"/>
                <a:gd name="T36" fmla="*/ 0 w 594"/>
                <a:gd name="T37" fmla="*/ 133 h 409"/>
                <a:gd name="T38" fmla="*/ 0 w 594"/>
                <a:gd name="T3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4" h="409">
                  <a:moveTo>
                    <a:pt x="0" y="0"/>
                  </a:moveTo>
                  <a:lnTo>
                    <a:pt x="83" y="5"/>
                  </a:lnTo>
                  <a:lnTo>
                    <a:pt x="162" y="19"/>
                  </a:lnTo>
                  <a:lnTo>
                    <a:pt x="238" y="43"/>
                  </a:lnTo>
                  <a:lnTo>
                    <a:pt x="308" y="74"/>
                  </a:lnTo>
                  <a:lnTo>
                    <a:pt x="376" y="112"/>
                  </a:lnTo>
                  <a:lnTo>
                    <a:pt x="439" y="158"/>
                  </a:lnTo>
                  <a:lnTo>
                    <a:pt x="496" y="212"/>
                  </a:lnTo>
                  <a:lnTo>
                    <a:pt x="547" y="274"/>
                  </a:lnTo>
                  <a:lnTo>
                    <a:pt x="594" y="341"/>
                  </a:lnTo>
                  <a:lnTo>
                    <a:pt x="478" y="409"/>
                  </a:lnTo>
                  <a:lnTo>
                    <a:pt x="437" y="351"/>
                  </a:lnTo>
                  <a:lnTo>
                    <a:pt x="391" y="298"/>
                  </a:lnTo>
                  <a:lnTo>
                    <a:pt x="336" y="252"/>
                  </a:lnTo>
                  <a:lnTo>
                    <a:pt x="279" y="212"/>
                  </a:lnTo>
                  <a:lnTo>
                    <a:pt x="214" y="179"/>
                  </a:lnTo>
                  <a:lnTo>
                    <a:pt x="147" y="155"/>
                  </a:lnTo>
                  <a:lnTo>
                    <a:pt x="76" y="140"/>
                  </a:lnTo>
                  <a:lnTo>
                    <a:pt x="0" y="1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7" name="12">
              <a:extLst>
                <a:ext uri="{FF2B5EF4-FFF2-40B4-BE49-F238E27FC236}">
                  <a16:creationId xmlns:a16="http://schemas.microsoft.com/office/drawing/2014/main" id="{5C1C200E-2FDF-4285-AF60-C2648328C09B}"/>
                </a:ext>
              </a:extLst>
            </p:cNvPr>
            <p:cNvSpPr/>
            <p:nvPr/>
          </p:nvSpPr>
          <p:spPr bwMode="auto">
            <a:xfrm>
              <a:off x="6891768" y="3268455"/>
              <a:ext cx="366744" cy="1219514"/>
            </a:xfrm>
            <a:custGeom>
              <a:avLst/>
              <a:gdLst>
                <a:gd name="T0" fmla="*/ 117 w 206"/>
                <a:gd name="T1" fmla="*/ 0 h 685"/>
                <a:gd name="T2" fmla="*/ 152 w 206"/>
                <a:gd name="T3" fmla="*/ 74 h 685"/>
                <a:gd name="T4" fmla="*/ 180 w 206"/>
                <a:gd name="T5" fmla="*/ 148 h 685"/>
                <a:gd name="T6" fmla="*/ 198 w 206"/>
                <a:gd name="T7" fmla="*/ 226 h 685"/>
                <a:gd name="T8" fmla="*/ 206 w 206"/>
                <a:gd name="T9" fmla="*/ 304 h 685"/>
                <a:gd name="T10" fmla="*/ 206 w 206"/>
                <a:gd name="T11" fmla="*/ 381 h 685"/>
                <a:gd name="T12" fmla="*/ 198 w 206"/>
                <a:gd name="T13" fmla="*/ 459 h 685"/>
                <a:gd name="T14" fmla="*/ 180 w 206"/>
                <a:gd name="T15" fmla="*/ 536 h 685"/>
                <a:gd name="T16" fmla="*/ 152 w 206"/>
                <a:gd name="T17" fmla="*/ 610 h 685"/>
                <a:gd name="T18" fmla="*/ 117 w 206"/>
                <a:gd name="T19" fmla="*/ 685 h 685"/>
                <a:gd name="T20" fmla="*/ 0 w 206"/>
                <a:gd name="T21" fmla="*/ 619 h 685"/>
                <a:gd name="T22" fmla="*/ 30 w 206"/>
                <a:gd name="T23" fmla="*/ 554 h 685"/>
                <a:gd name="T24" fmla="*/ 53 w 206"/>
                <a:gd name="T25" fmla="*/ 487 h 685"/>
                <a:gd name="T26" fmla="*/ 66 w 206"/>
                <a:gd name="T27" fmla="*/ 416 h 685"/>
                <a:gd name="T28" fmla="*/ 71 w 206"/>
                <a:gd name="T29" fmla="*/ 341 h 685"/>
                <a:gd name="T30" fmla="*/ 66 w 206"/>
                <a:gd name="T31" fmla="*/ 269 h 685"/>
                <a:gd name="T32" fmla="*/ 53 w 206"/>
                <a:gd name="T33" fmla="*/ 198 h 685"/>
                <a:gd name="T34" fmla="*/ 30 w 206"/>
                <a:gd name="T35" fmla="*/ 130 h 685"/>
                <a:gd name="T36" fmla="*/ 0 w 206"/>
                <a:gd name="T37" fmla="*/ 66 h 685"/>
                <a:gd name="T38" fmla="*/ 117 w 206"/>
                <a:gd name="T39" fmla="*/ 0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6" h="685">
                  <a:moveTo>
                    <a:pt x="117" y="0"/>
                  </a:moveTo>
                  <a:lnTo>
                    <a:pt x="152" y="74"/>
                  </a:lnTo>
                  <a:lnTo>
                    <a:pt x="180" y="148"/>
                  </a:lnTo>
                  <a:lnTo>
                    <a:pt x="198" y="226"/>
                  </a:lnTo>
                  <a:lnTo>
                    <a:pt x="206" y="304"/>
                  </a:lnTo>
                  <a:lnTo>
                    <a:pt x="206" y="381"/>
                  </a:lnTo>
                  <a:lnTo>
                    <a:pt x="198" y="459"/>
                  </a:lnTo>
                  <a:lnTo>
                    <a:pt x="180" y="536"/>
                  </a:lnTo>
                  <a:lnTo>
                    <a:pt x="152" y="610"/>
                  </a:lnTo>
                  <a:lnTo>
                    <a:pt x="117" y="685"/>
                  </a:lnTo>
                  <a:lnTo>
                    <a:pt x="0" y="619"/>
                  </a:lnTo>
                  <a:lnTo>
                    <a:pt x="30" y="554"/>
                  </a:lnTo>
                  <a:lnTo>
                    <a:pt x="53" y="487"/>
                  </a:lnTo>
                  <a:lnTo>
                    <a:pt x="66" y="416"/>
                  </a:lnTo>
                  <a:lnTo>
                    <a:pt x="71" y="341"/>
                  </a:lnTo>
                  <a:lnTo>
                    <a:pt x="66" y="269"/>
                  </a:lnTo>
                  <a:lnTo>
                    <a:pt x="53" y="198"/>
                  </a:lnTo>
                  <a:lnTo>
                    <a:pt x="30" y="130"/>
                  </a:lnTo>
                  <a:lnTo>
                    <a:pt x="0" y="66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8" name="11">
              <a:extLst>
                <a:ext uri="{FF2B5EF4-FFF2-40B4-BE49-F238E27FC236}">
                  <a16:creationId xmlns:a16="http://schemas.microsoft.com/office/drawing/2014/main" id="{7585A154-BD8E-4E65-86A6-7A330FA5061C}"/>
                </a:ext>
              </a:extLst>
            </p:cNvPr>
            <p:cNvSpPr/>
            <p:nvPr/>
          </p:nvSpPr>
          <p:spPr bwMode="auto">
            <a:xfrm>
              <a:off x="6017634" y="4411415"/>
              <a:ext cx="1057505" cy="728148"/>
            </a:xfrm>
            <a:custGeom>
              <a:avLst/>
              <a:gdLst>
                <a:gd name="T0" fmla="*/ 478 w 594"/>
                <a:gd name="T1" fmla="*/ 0 h 409"/>
                <a:gd name="T2" fmla="*/ 594 w 594"/>
                <a:gd name="T3" fmla="*/ 67 h 409"/>
                <a:gd name="T4" fmla="*/ 547 w 594"/>
                <a:gd name="T5" fmla="*/ 135 h 409"/>
                <a:gd name="T6" fmla="*/ 496 w 594"/>
                <a:gd name="T7" fmla="*/ 196 h 409"/>
                <a:gd name="T8" fmla="*/ 439 w 594"/>
                <a:gd name="T9" fmla="*/ 251 h 409"/>
                <a:gd name="T10" fmla="*/ 376 w 594"/>
                <a:gd name="T11" fmla="*/ 297 h 409"/>
                <a:gd name="T12" fmla="*/ 308 w 594"/>
                <a:gd name="T13" fmla="*/ 335 h 409"/>
                <a:gd name="T14" fmla="*/ 238 w 594"/>
                <a:gd name="T15" fmla="*/ 366 h 409"/>
                <a:gd name="T16" fmla="*/ 162 w 594"/>
                <a:gd name="T17" fmla="*/ 389 h 409"/>
                <a:gd name="T18" fmla="*/ 83 w 594"/>
                <a:gd name="T19" fmla="*/ 404 h 409"/>
                <a:gd name="T20" fmla="*/ 0 w 594"/>
                <a:gd name="T21" fmla="*/ 409 h 409"/>
                <a:gd name="T22" fmla="*/ 0 w 594"/>
                <a:gd name="T23" fmla="*/ 275 h 409"/>
                <a:gd name="T24" fmla="*/ 76 w 594"/>
                <a:gd name="T25" fmla="*/ 269 h 409"/>
                <a:gd name="T26" fmla="*/ 147 w 594"/>
                <a:gd name="T27" fmla="*/ 252 h 409"/>
                <a:gd name="T28" fmla="*/ 214 w 594"/>
                <a:gd name="T29" fmla="*/ 229 h 409"/>
                <a:gd name="T30" fmla="*/ 279 w 594"/>
                <a:gd name="T31" fmla="*/ 196 h 409"/>
                <a:gd name="T32" fmla="*/ 336 w 594"/>
                <a:gd name="T33" fmla="*/ 157 h 409"/>
                <a:gd name="T34" fmla="*/ 391 w 594"/>
                <a:gd name="T35" fmla="*/ 110 h 409"/>
                <a:gd name="T36" fmla="*/ 437 w 594"/>
                <a:gd name="T37" fmla="*/ 58 h 409"/>
                <a:gd name="T38" fmla="*/ 478 w 594"/>
                <a:gd name="T3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4" h="409">
                  <a:moveTo>
                    <a:pt x="478" y="0"/>
                  </a:moveTo>
                  <a:lnTo>
                    <a:pt x="594" y="67"/>
                  </a:lnTo>
                  <a:lnTo>
                    <a:pt x="547" y="135"/>
                  </a:lnTo>
                  <a:lnTo>
                    <a:pt x="496" y="196"/>
                  </a:lnTo>
                  <a:lnTo>
                    <a:pt x="439" y="251"/>
                  </a:lnTo>
                  <a:lnTo>
                    <a:pt x="376" y="297"/>
                  </a:lnTo>
                  <a:lnTo>
                    <a:pt x="308" y="335"/>
                  </a:lnTo>
                  <a:lnTo>
                    <a:pt x="238" y="366"/>
                  </a:lnTo>
                  <a:lnTo>
                    <a:pt x="162" y="389"/>
                  </a:lnTo>
                  <a:lnTo>
                    <a:pt x="83" y="404"/>
                  </a:lnTo>
                  <a:lnTo>
                    <a:pt x="0" y="409"/>
                  </a:lnTo>
                  <a:lnTo>
                    <a:pt x="0" y="275"/>
                  </a:lnTo>
                  <a:lnTo>
                    <a:pt x="76" y="269"/>
                  </a:lnTo>
                  <a:lnTo>
                    <a:pt x="147" y="252"/>
                  </a:lnTo>
                  <a:lnTo>
                    <a:pt x="214" y="229"/>
                  </a:lnTo>
                  <a:lnTo>
                    <a:pt x="279" y="196"/>
                  </a:lnTo>
                  <a:lnTo>
                    <a:pt x="336" y="157"/>
                  </a:lnTo>
                  <a:lnTo>
                    <a:pt x="391" y="110"/>
                  </a:lnTo>
                  <a:lnTo>
                    <a:pt x="437" y="58"/>
                  </a:lnTo>
                  <a:lnTo>
                    <a:pt x="47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29" name="10">
              <a:extLst>
                <a:ext uri="{FF2B5EF4-FFF2-40B4-BE49-F238E27FC236}">
                  <a16:creationId xmlns:a16="http://schemas.microsoft.com/office/drawing/2014/main" id="{C5E3BACE-00C7-41DE-87F3-CD6B6710A878}"/>
                </a:ext>
              </a:extLst>
            </p:cNvPr>
            <p:cNvSpPr/>
            <p:nvPr/>
          </p:nvSpPr>
          <p:spPr bwMode="auto">
            <a:xfrm>
              <a:off x="4913841" y="4411415"/>
              <a:ext cx="1057505" cy="728148"/>
            </a:xfrm>
            <a:custGeom>
              <a:avLst/>
              <a:gdLst>
                <a:gd name="T0" fmla="*/ 116 w 594"/>
                <a:gd name="T1" fmla="*/ 0 h 409"/>
                <a:gd name="T2" fmla="*/ 157 w 594"/>
                <a:gd name="T3" fmla="*/ 58 h 409"/>
                <a:gd name="T4" fmla="*/ 205 w 594"/>
                <a:gd name="T5" fmla="*/ 110 h 409"/>
                <a:gd name="T6" fmla="*/ 257 w 594"/>
                <a:gd name="T7" fmla="*/ 157 h 409"/>
                <a:gd name="T8" fmla="*/ 317 w 594"/>
                <a:gd name="T9" fmla="*/ 196 h 409"/>
                <a:gd name="T10" fmla="*/ 379 w 594"/>
                <a:gd name="T11" fmla="*/ 229 h 409"/>
                <a:gd name="T12" fmla="*/ 447 w 594"/>
                <a:gd name="T13" fmla="*/ 254 h 409"/>
                <a:gd name="T14" fmla="*/ 520 w 594"/>
                <a:gd name="T15" fmla="*/ 269 h 409"/>
                <a:gd name="T16" fmla="*/ 594 w 594"/>
                <a:gd name="T17" fmla="*/ 275 h 409"/>
                <a:gd name="T18" fmla="*/ 594 w 594"/>
                <a:gd name="T19" fmla="*/ 409 h 409"/>
                <a:gd name="T20" fmla="*/ 511 w 594"/>
                <a:gd name="T21" fmla="*/ 404 h 409"/>
                <a:gd name="T22" fmla="*/ 432 w 594"/>
                <a:gd name="T23" fmla="*/ 389 h 409"/>
                <a:gd name="T24" fmla="*/ 358 w 594"/>
                <a:gd name="T25" fmla="*/ 366 h 409"/>
                <a:gd name="T26" fmla="*/ 285 w 594"/>
                <a:gd name="T27" fmla="*/ 335 h 409"/>
                <a:gd name="T28" fmla="*/ 218 w 594"/>
                <a:gd name="T29" fmla="*/ 297 h 409"/>
                <a:gd name="T30" fmla="*/ 155 w 594"/>
                <a:gd name="T31" fmla="*/ 251 h 409"/>
                <a:gd name="T32" fmla="*/ 98 w 594"/>
                <a:gd name="T33" fmla="*/ 196 h 409"/>
                <a:gd name="T34" fmla="*/ 46 w 594"/>
                <a:gd name="T35" fmla="*/ 135 h 409"/>
                <a:gd name="T36" fmla="*/ 0 w 594"/>
                <a:gd name="T37" fmla="*/ 67 h 409"/>
                <a:gd name="T38" fmla="*/ 116 w 594"/>
                <a:gd name="T3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4" h="409">
                  <a:moveTo>
                    <a:pt x="116" y="0"/>
                  </a:moveTo>
                  <a:lnTo>
                    <a:pt x="157" y="58"/>
                  </a:lnTo>
                  <a:lnTo>
                    <a:pt x="205" y="110"/>
                  </a:lnTo>
                  <a:lnTo>
                    <a:pt x="257" y="157"/>
                  </a:lnTo>
                  <a:lnTo>
                    <a:pt x="317" y="196"/>
                  </a:lnTo>
                  <a:lnTo>
                    <a:pt x="379" y="229"/>
                  </a:lnTo>
                  <a:lnTo>
                    <a:pt x="447" y="254"/>
                  </a:lnTo>
                  <a:lnTo>
                    <a:pt x="520" y="269"/>
                  </a:lnTo>
                  <a:lnTo>
                    <a:pt x="594" y="275"/>
                  </a:lnTo>
                  <a:lnTo>
                    <a:pt x="594" y="409"/>
                  </a:lnTo>
                  <a:lnTo>
                    <a:pt x="511" y="404"/>
                  </a:lnTo>
                  <a:lnTo>
                    <a:pt x="432" y="389"/>
                  </a:lnTo>
                  <a:lnTo>
                    <a:pt x="358" y="366"/>
                  </a:lnTo>
                  <a:lnTo>
                    <a:pt x="285" y="335"/>
                  </a:lnTo>
                  <a:lnTo>
                    <a:pt x="218" y="297"/>
                  </a:lnTo>
                  <a:lnTo>
                    <a:pt x="155" y="251"/>
                  </a:lnTo>
                  <a:lnTo>
                    <a:pt x="98" y="196"/>
                  </a:lnTo>
                  <a:lnTo>
                    <a:pt x="46" y="135"/>
                  </a:lnTo>
                  <a:lnTo>
                    <a:pt x="0" y="67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0" name="9">
              <a:extLst>
                <a:ext uri="{FF2B5EF4-FFF2-40B4-BE49-F238E27FC236}">
                  <a16:creationId xmlns:a16="http://schemas.microsoft.com/office/drawing/2014/main" id="{1837235D-A1B0-42A1-ACA1-8F6333C2C13F}"/>
                </a:ext>
              </a:extLst>
            </p:cNvPr>
            <p:cNvSpPr/>
            <p:nvPr/>
          </p:nvSpPr>
          <p:spPr bwMode="auto">
            <a:xfrm>
              <a:off x="4728689" y="3268455"/>
              <a:ext cx="368525" cy="1219514"/>
            </a:xfrm>
            <a:custGeom>
              <a:avLst/>
              <a:gdLst>
                <a:gd name="T0" fmla="*/ 91 w 207"/>
                <a:gd name="T1" fmla="*/ 0 h 685"/>
                <a:gd name="T2" fmla="*/ 207 w 207"/>
                <a:gd name="T3" fmla="*/ 66 h 685"/>
                <a:gd name="T4" fmla="*/ 177 w 207"/>
                <a:gd name="T5" fmla="*/ 130 h 685"/>
                <a:gd name="T6" fmla="*/ 155 w 207"/>
                <a:gd name="T7" fmla="*/ 198 h 685"/>
                <a:gd name="T8" fmla="*/ 141 w 207"/>
                <a:gd name="T9" fmla="*/ 269 h 685"/>
                <a:gd name="T10" fmla="*/ 137 w 207"/>
                <a:gd name="T11" fmla="*/ 341 h 685"/>
                <a:gd name="T12" fmla="*/ 141 w 207"/>
                <a:gd name="T13" fmla="*/ 416 h 685"/>
                <a:gd name="T14" fmla="*/ 155 w 207"/>
                <a:gd name="T15" fmla="*/ 487 h 685"/>
                <a:gd name="T16" fmla="*/ 177 w 207"/>
                <a:gd name="T17" fmla="*/ 554 h 685"/>
                <a:gd name="T18" fmla="*/ 207 w 207"/>
                <a:gd name="T19" fmla="*/ 619 h 685"/>
                <a:gd name="T20" fmla="*/ 91 w 207"/>
                <a:gd name="T21" fmla="*/ 685 h 685"/>
                <a:gd name="T22" fmla="*/ 55 w 207"/>
                <a:gd name="T23" fmla="*/ 610 h 685"/>
                <a:gd name="T24" fmla="*/ 28 w 207"/>
                <a:gd name="T25" fmla="*/ 536 h 685"/>
                <a:gd name="T26" fmla="*/ 10 w 207"/>
                <a:gd name="T27" fmla="*/ 459 h 685"/>
                <a:gd name="T28" fmla="*/ 0 w 207"/>
                <a:gd name="T29" fmla="*/ 381 h 685"/>
                <a:gd name="T30" fmla="*/ 0 w 207"/>
                <a:gd name="T31" fmla="*/ 304 h 685"/>
                <a:gd name="T32" fmla="*/ 10 w 207"/>
                <a:gd name="T33" fmla="*/ 226 h 685"/>
                <a:gd name="T34" fmla="*/ 28 w 207"/>
                <a:gd name="T35" fmla="*/ 148 h 685"/>
                <a:gd name="T36" fmla="*/ 55 w 207"/>
                <a:gd name="T37" fmla="*/ 74 h 685"/>
                <a:gd name="T38" fmla="*/ 91 w 207"/>
                <a:gd name="T39" fmla="*/ 0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7" h="685">
                  <a:moveTo>
                    <a:pt x="91" y="0"/>
                  </a:moveTo>
                  <a:lnTo>
                    <a:pt x="207" y="66"/>
                  </a:lnTo>
                  <a:lnTo>
                    <a:pt x="177" y="130"/>
                  </a:lnTo>
                  <a:lnTo>
                    <a:pt x="155" y="198"/>
                  </a:lnTo>
                  <a:lnTo>
                    <a:pt x="141" y="269"/>
                  </a:lnTo>
                  <a:lnTo>
                    <a:pt x="137" y="341"/>
                  </a:lnTo>
                  <a:lnTo>
                    <a:pt x="141" y="416"/>
                  </a:lnTo>
                  <a:lnTo>
                    <a:pt x="155" y="487"/>
                  </a:lnTo>
                  <a:lnTo>
                    <a:pt x="177" y="554"/>
                  </a:lnTo>
                  <a:lnTo>
                    <a:pt x="207" y="619"/>
                  </a:lnTo>
                  <a:lnTo>
                    <a:pt x="91" y="685"/>
                  </a:lnTo>
                  <a:lnTo>
                    <a:pt x="55" y="610"/>
                  </a:lnTo>
                  <a:lnTo>
                    <a:pt x="28" y="536"/>
                  </a:lnTo>
                  <a:lnTo>
                    <a:pt x="10" y="459"/>
                  </a:lnTo>
                  <a:lnTo>
                    <a:pt x="0" y="381"/>
                  </a:lnTo>
                  <a:lnTo>
                    <a:pt x="0" y="304"/>
                  </a:lnTo>
                  <a:lnTo>
                    <a:pt x="10" y="226"/>
                  </a:lnTo>
                  <a:lnTo>
                    <a:pt x="28" y="148"/>
                  </a:lnTo>
                  <a:lnTo>
                    <a:pt x="55" y="74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31" name="8">
              <a:extLst>
                <a:ext uri="{FF2B5EF4-FFF2-40B4-BE49-F238E27FC236}">
                  <a16:creationId xmlns:a16="http://schemas.microsoft.com/office/drawing/2014/main" id="{16273EAE-42A4-412B-A730-B9E3D17ADC47}"/>
                </a:ext>
              </a:extLst>
            </p:cNvPr>
            <p:cNvSpPr/>
            <p:nvPr/>
          </p:nvSpPr>
          <p:spPr bwMode="auto">
            <a:xfrm>
              <a:off x="4913841" y="2616861"/>
              <a:ext cx="1057505" cy="728148"/>
            </a:xfrm>
            <a:custGeom>
              <a:avLst/>
              <a:gdLst>
                <a:gd name="T0" fmla="*/ 594 w 594"/>
                <a:gd name="T1" fmla="*/ 0 h 409"/>
                <a:gd name="T2" fmla="*/ 594 w 594"/>
                <a:gd name="T3" fmla="*/ 133 h 409"/>
                <a:gd name="T4" fmla="*/ 520 w 594"/>
                <a:gd name="T5" fmla="*/ 140 h 409"/>
                <a:gd name="T6" fmla="*/ 447 w 594"/>
                <a:gd name="T7" fmla="*/ 155 h 409"/>
                <a:gd name="T8" fmla="*/ 379 w 594"/>
                <a:gd name="T9" fmla="*/ 179 h 409"/>
                <a:gd name="T10" fmla="*/ 317 w 594"/>
                <a:gd name="T11" fmla="*/ 212 h 409"/>
                <a:gd name="T12" fmla="*/ 257 w 594"/>
                <a:gd name="T13" fmla="*/ 252 h 409"/>
                <a:gd name="T14" fmla="*/ 205 w 594"/>
                <a:gd name="T15" fmla="*/ 298 h 409"/>
                <a:gd name="T16" fmla="*/ 157 w 594"/>
                <a:gd name="T17" fmla="*/ 351 h 409"/>
                <a:gd name="T18" fmla="*/ 116 w 594"/>
                <a:gd name="T19" fmla="*/ 409 h 409"/>
                <a:gd name="T20" fmla="*/ 0 w 594"/>
                <a:gd name="T21" fmla="*/ 341 h 409"/>
                <a:gd name="T22" fmla="*/ 46 w 594"/>
                <a:gd name="T23" fmla="*/ 274 h 409"/>
                <a:gd name="T24" fmla="*/ 98 w 594"/>
                <a:gd name="T25" fmla="*/ 212 h 409"/>
                <a:gd name="T26" fmla="*/ 155 w 594"/>
                <a:gd name="T27" fmla="*/ 158 h 409"/>
                <a:gd name="T28" fmla="*/ 218 w 594"/>
                <a:gd name="T29" fmla="*/ 112 h 409"/>
                <a:gd name="T30" fmla="*/ 285 w 594"/>
                <a:gd name="T31" fmla="*/ 74 h 409"/>
                <a:gd name="T32" fmla="*/ 358 w 594"/>
                <a:gd name="T33" fmla="*/ 43 h 409"/>
                <a:gd name="T34" fmla="*/ 432 w 594"/>
                <a:gd name="T35" fmla="*/ 19 h 409"/>
                <a:gd name="T36" fmla="*/ 511 w 594"/>
                <a:gd name="T37" fmla="*/ 5 h 409"/>
                <a:gd name="T38" fmla="*/ 594 w 594"/>
                <a:gd name="T39" fmla="*/ 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4" h="409">
                  <a:moveTo>
                    <a:pt x="594" y="0"/>
                  </a:moveTo>
                  <a:lnTo>
                    <a:pt x="594" y="133"/>
                  </a:lnTo>
                  <a:lnTo>
                    <a:pt x="520" y="140"/>
                  </a:lnTo>
                  <a:lnTo>
                    <a:pt x="447" y="155"/>
                  </a:lnTo>
                  <a:lnTo>
                    <a:pt x="379" y="179"/>
                  </a:lnTo>
                  <a:lnTo>
                    <a:pt x="317" y="212"/>
                  </a:lnTo>
                  <a:lnTo>
                    <a:pt x="257" y="252"/>
                  </a:lnTo>
                  <a:lnTo>
                    <a:pt x="205" y="298"/>
                  </a:lnTo>
                  <a:lnTo>
                    <a:pt x="157" y="351"/>
                  </a:lnTo>
                  <a:lnTo>
                    <a:pt x="116" y="409"/>
                  </a:lnTo>
                  <a:lnTo>
                    <a:pt x="0" y="341"/>
                  </a:lnTo>
                  <a:lnTo>
                    <a:pt x="46" y="274"/>
                  </a:lnTo>
                  <a:lnTo>
                    <a:pt x="98" y="212"/>
                  </a:lnTo>
                  <a:lnTo>
                    <a:pt x="155" y="158"/>
                  </a:lnTo>
                  <a:lnTo>
                    <a:pt x="218" y="112"/>
                  </a:lnTo>
                  <a:lnTo>
                    <a:pt x="285" y="74"/>
                  </a:lnTo>
                  <a:lnTo>
                    <a:pt x="358" y="43"/>
                  </a:lnTo>
                  <a:lnTo>
                    <a:pt x="432" y="19"/>
                  </a:lnTo>
                  <a:lnTo>
                    <a:pt x="511" y="5"/>
                  </a:lnTo>
                  <a:lnTo>
                    <a:pt x="594" y="0"/>
                  </a:lnTo>
                  <a:close/>
                </a:path>
              </a:pathLst>
            </a:custGeom>
            <a:solidFill>
              <a:srgbClr val="1D5394"/>
            </a:solidFill>
            <a:ln w="0">
              <a:solidFill>
                <a:srgbClr val="1D539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32" name="7">
              <a:extLst>
                <a:ext uri="{FF2B5EF4-FFF2-40B4-BE49-F238E27FC236}">
                  <a16:creationId xmlns:a16="http://schemas.microsoft.com/office/drawing/2014/main" id="{C262F5EB-C2E4-4333-AB03-7194BB9E7F8F}"/>
                </a:ext>
              </a:extLst>
            </p:cNvPr>
            <p:cNvSpPr/>
            <p:nvPr/>
          </p:nvSpPr>
          <p:spPr bwMode="auto">
            <a:xfrm>
              <a:off x="5087423" y="2970253"/>
              <a:ext cx="1812357" cy="1815918"/>
            </a:xfrm>
            <a:custGeom>
              <a:avLst/>
              <a:gdLst>
                <a:gd name="T0" fmla="*/ 509 w 1018"/>
                <a:gd name="T1" fmla="*/ 0 h 1020"/>
                <a:gd name="T2" fmla="*/ 578 w 1018"/>
                <a:gd name="T3" fmla="*/ 5 h 1020"/>
                <a:gd name="T4" fmla="*/ 644 w 1018"/>
                <a:gd name="T5" fmla="*/ 18 h 1020"/>
                <a:gd name="T6" fmla="*/ 707 w 1018"/>
                <a:gd name="T7" fmla="*/ 40 h 1020"/>
                <a:gd name="T8" fmla="*/ 766 w 1018"/>
                <a:gd name="T9" fmla="*/ 69 h 1020"/>
                <a:gd name="T10" fmla="*/ 821 w 1018"/>
                <a:gd name="T11" fmla="*/ 107 h 1020"/>
                <a:gd name="T12" fmla="*/ 870 w 1018"/>
                <a:gd name="T13" fmla="*/ 150 h 1020"/>
                <a:gd name="T14" fmla="*/ 913 w 1018"/>
                <a:gd name="T15" fmla="*/ 198 h 1020"/>
                <a:gd name="T16" fmla="*/ 949 w 1018"/>
                <a:gd name="T17" fmla="*/ 252 h 1020"/>
                <a:gd name="T18" fmla="*/ 979 w 1018"/>
                <a:gd name="T19" fmla="*/ 312 h 1020"/>
                <a:gd name="T20" fmla="*/ 1000 w 1018"/>
                <a:gd name="T21" fmla="*/ 374 h 1020"/>
                <a:gd name="T22" fmla="*/ 1013 w 1018"/>
                <a:gd name="T23" fmla="*/ 440 h 1020"/>
                <a:gd name="T24" fmla="*/ 1018 w 1018"/>
                <a:gd name="T25" fmla="*/ 510 h 1020"/>
                <a:gd name="T26" fmla="*/ 1013 w 1018"/>
                <a:gd name="T27" fmla="*/ 579 h 1020"/>
                <a:gd name="T28" fmla="*/ 1000 w 1018"/>
                <a:gd name="T29" fmla="*/ 645 h 1020"/>
                <a:gd name="T30" fmla="*/ 979 w 1018"/>
                <a:gd name="T31" fmla="*/ 709 h 1020"/>
                <a:gd name="T32" fmla="*/ 949 w 1018"/>
                <a:gd name="T33" fmla="*/ 767 h 1020"/>
                <a:gd name="T34" fmla="*/ 913 w 1018"/>
                <a:gd name="T35" fmla="*/ 822 h 1020"/>
                <a:gd name="T36" fmla="*/ 870 w 1018"/>
                <a:gd name="T37" fmla="*/ 871 h 1020"/>
                <a:gd name="T38" fmla="*/ 821 w 1018"/>
                <a:gd name="T39" fmla="*/ 914 h 1020"/>
                <a:gd name="T40" fmla="*/ 766 w 1018"/>
                <a:gd name="T41" fmla="*/ 950 h 1020"/>
                <a:gd name="T42" fmla="*/ 707 w 1018"/>
                <a:gd name="T43" fmla="*/ 980 h 1020"/>
                <a:gd name="T44" fmla="*/ 644 w 1018"/>
                <a:gd name="T45" fmla="*/ 1001 h 1020"/>
                <a:gd name="T46" fmla="*/ 578 w 1018"/>
                <a:gd name="T47" fmla="*/ 1016 h 1020"/>
                <a:gd name="T48" fmla="*/ 509 w 1018"/>
                <a:gd name="T49" fmla="*/ 1020 h 1020"/>
                <a:gd name="T50" fmla="*/ 440 w 1018"/>
                <a:gd name="T51" fmla="*/ 1016 h 1020"/>
                <a:gd name="T52" fmla="*/ 374 w 1018"/>
                <a:gd name="T53" fmla="*/ 1001 h 1020"/>
                <a:gd name="T54" fmla="*/ 311 w 1018"/>
                <a:gd name="T55" fmla="*/ 980 h 1020"/>
                <a:gd name="T56" fmla="*/ 252 w 1018"/>
                <a:gd name="T57" fmla="*/ 950 h 1020"/>
                <a:gd name="T58" fmla="*/ 197 w 1018"/>
                <a:gd name="T59" fmla="*/ 914 h 1020"/>
                <a:gd name="T60" fmla="*/ 150 w 1018"/>
                <a:gd name="T61" fmla="*/ 871 h 1020"/>
                <a:gd name="T62" fmla="*/ 105 w 1018"/>
                <a:gd name="T63" fmla="*/ 822 h 1020"/>
                <a:gd name="T64" fmla="*/ 69 w 1018"/>
                <a:gd name="T65" fmla="*/ 767 h 1020"/>
                <a:gd name="T66" fmla="*/ 39 w 1018"/>
                <a:gd name="T67" fmla="*/ 709 h 1020"/>
                <a:gd name="T68" fmla="*/ 18 w 1018"/>
                <a:gd name="T69" fmla="*/ 645 h 1020"/>
                <a:gd name="T70" fmla="*/ 5 w 1018"/>
                <a:gd name="T71" fmla="*/ 579 h 1020"/>
                <a:gd name="T72" fmla="*/ 0 w 1018"/>
                <a:gd name="T73" fmla="*/ 510 h 1020"/>
                <a:gd name="T74" fmla="*/ 5 w 1018"/>
                <a:gd name="T75" fmla="*/ 440 h 1020"/>
                <a:gd name="T76" fmla="*/ 18 w 1018"/>
                <a:gd name="T77" fmla="*/ 374 h 1020"/>
                <a:gd name="T78" fmla="*/ 39 w 1018"/>
                <a:gd name="T79" fmla="*/ 312 h 1020"/>
                <a:gd name="T80" fmla="*/ 69 w 1018"/>
                <a:gd name="T81" fmla="*/ 252 h 1020"/>
                <a:gd name="T82" fmla="*/ 105 w 1018"/>
                <a:gd name="T83" fmla="*/ 198 h 1020"/>
                <a:gd name="T84" fmla="*/ 150 w 1018"/>
                <a:gd name="T85" fmla="*/ 150 h 1020"/>
                <a:gd name="T86" fmla="*/ 197 w 1018"/>
                <a:gd name="T87" fmla="*/ 107 h 1020"/>
                <a:gd name="T88" fmla="*/ 252 w 1018"/>
                <a:gd name="T89" fmla="*/ 69 h 1020"/>
                <a:gd name="T90" fmla="*/ 311 w 1018"/>
                <a:gd name="T91" fmla="*/ 40 h 1020"/>
                <a:gd name="T92" fmla="*/ 374 w 1018"/>
                <a:gd name="T93" fmla="*/ 18 h 1020"/>
                <a:gd name="T94" fmla="*/ 440 w 1018"/>
                <a:gd name="T95" fmla="*/ 5 h 1020"/>
                <a:gd name="T96" fmla="*/ 509 w 1018"/>
                <a:gd name="T97" fmla="*/ 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18" h="1020">
                  <a:moveTo>
                    <a:pt x="509" y="0"/>
                  </a:moveTo>
                  <a:lnTo>
                    <a:pt x="578" y="5"/>
                  </a:lnTo>
                  <a:lnTo>
                    <a:pt x="644" y="18"/>
                  </a:lnTo>
                  <a:lnTo>
                    <a:pt x="707" y="40"/>
                  </a:lnTo>
                  <a:lnTo>
                    <a:pt x="766" y="69"/>
                  </a:lnTo>
                  <a:lnTo>
                    <a:pt x="821" y="107"/>
                  </a:lnTo>
                  <a:lnTo>
                    <a:pt x="870" y="150"/>
                  </a:lnTo>
                  <a:lnTo>
                    <a:pt x="913" y="198"/>
                  </a:lnTo>
                  <a:lnTo>
                    <a:pt x="949" y="252"/>
                  </a:lnTo>
                  <a:lnTo>
                    <a:pt x="979" y="312"/>
                  </a:lnTo>
                  <a:lnTo>
                    <a:pt x="1000" y="374"/>
                  </a:lnTo>
                  <a:lnTo>
                    <a:pt x="1013" y="440"/>
                  </a:lnTo>
                  <a:lnTo>
                    <a:pt x="1018" y="510"/>
                  </a:lnTo>
                  <a:lnTo>
                    <a:pt x="1013" y="579"/>
                  </a:lnTo>
                  <a:lnTo>
                    <a:pt x="1000" y="645"/>
                  </a:lnTo>
                  <a:lnTo>
                    <a:pt x="979" y="709"/>
                  </a:lnTo>
                  <a:lnTo>
                    <a:pt x="949" y="767"/>
                  </a:lnTo>
                  <a:lnTo>
                    <a:pt x="913" y="822"/>
                  </a:lnTo>
                  <a:lnTo>
                    <a:pt x="870" y="871"/>
                  </a:lnTo>
                  <a:lnTo>
                    <a:pt x="821" y="914"/>
                  </a:lnTo>
                  <a:lnTo>
                    <a:pt x="766" y="950"/>
                  </a:lnTo>
                  <a:lnTo>
                    <a:pt x="707" y="980"/>
                  </a:lnTo>
                  <a:lnTo>
                    <a:pt x="644" y="1001"/>
                  </a:lnTo>
                  <a:lnTo>
                    <a:pt x="578" y="1016"/>
                  </a:lnTo>
                  <a:lnTo>
                    <a:pt x="509" y="1020"/>
                  </a:lnTo>
                  <a:lnTo>
                    <a:pt x="440" y="1016"/>
                  </a:lnTo>
                  <a:lnTo>
                    <a:pt x="374" y="1001"/>
                  </a:lnTo>
                  <a:lnTo>
                    <a:pt x="311" y="980"/>
                  </a:lnTo>
                  <a:lnTo>
                    <a:pt x="252" y="950"/>
                  </a:lnTo>
                  <a:lnTo>
                    <a:pt x="197" y="914"/>
                  </a:lnTo>
                  <a:lnTo>
                    <a:pt x="150" y="871"/>
                  </a:lnTo>
                  <a:lnTo>
                    <a:pt x="105" y="822"/>
                  </a:lnTo>
                  <a:lnTo>
                    <a:pt x="69" y="767"/>
                  </a:lnTo>
                  <a:lnTo>
                    <a:pt x="39" y="709"/>
                  </a:lnTo>
                  <a:lnTo>
                    <a:pt x="18" y="645"/>
                  </a:lnTo>
                  <a:lnTo>
                    <a:pt x="5" y="579"/>
                  </a:lnTo>
                  <a:lnTo>
                    <a:pt x="0" y="510"/>
                  </a:lnTo>
                  <a:lnTo>
                    <a:pt x="5" y="440"/>
                  </a:lnTo>
                  <a:lnTo>
                    <a:pt x="18" y="374"/>
                  </a:lnTo>
                  <a:lnTo>
                    <a:pt x="39" y="312"/>
                  </a:lnTo>
                  <a:lnTo>
                    <a:pt x="69" y="252"/>
                  </a:lnTo>
                  <a:lnTo>
                    <a:pt x="105" y="198"/>
                  </a:lnTo>
                  <a:lnTo>
                    <a:pt x="150" y="150"/>
                  </a:lnTo>
                  <a:lnTo>
                    <a:pt x="197" y="107"/>
                  </a:lnTo>
                  <a:lnTo>
                    <a:pt x="252" y="69"/>
                  </a:lnTo>
                  <a:lnTo>
                    <a:pt x="311" y="40"/>
                  </a:lnTo>
                  <a:lnTo>
                    <a:pt x="374" y="18"/>
                  </a:lnTo>
                  <a:lnTo>
                    <a:pt x="440" y="5"/>
                  </a:lnTo>
                  <a:lnTo>
                    <a:pt x="50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sz="2400" dirty="0"/>
                <a:t>赛事</a:t>
              </a:r>
              <a:endParaRPr lang="en-US" altLang="zh-CN" sz="2400" dirty="0"/>
            </a:p>
            <a:p>
              <a:pPr algn="ctr"/>
              <a:r>
                <a:rPr lang="zh-CN" altLang="en-US" sz="2400" dirty="0"/>
                <a:t>六大影响</a:t>
              </a:r>
              <a:endParaRPr lang="id-ID" altLang="zh-CN" sz="2400" dirty="0"/>
            </a:p>
          </p:txBody>
        </p:sp>
        <p:sp>
          <p:nvSpPr>
            <p:cNvPr id="17" name="6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326750" y="1797917"/>
              <a:ext cx="3165151" cy="1199268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实际旅游经济效益。两个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9000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万</a:t>
              </a:r>
              <a:endParaRPr lang="en-US" altLang="zh-CN" sz="1400" dirty="0"/>
            </a:p>
          </p:txBody>
        </p:sp>
        <p:sp>
          <p:nvSpPr>
            <p:cNvPr id="18" name="5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326750" y="3278577"/>
              <a:ext cx="3165151" cy="1199268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实际赛事创造收益。一个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2100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万</a:t>
              </a:r>
              <a:endParaRPr lang="en-US" altLang="zh-CN" sz="1400" dirty="0"/>
            </a:p>
          </p:txBody>
        </p:sp>
        <p:sp>
          <p:nvSpPr>
            <p:cNvPr id="19" name="4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326750" y="4759235"/>
              <a:ext cx="3165151" cy="1484809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峰会的举办，可以吸引知名得无人机企业落地厦门，同时将无人机产业人才吸引到厦门工作</a:t>
              </a:r>
              <a:endParaRPr lang="en-US" altLang="zh-CN" sz="1400" dirty="0"/>
            </a:p>
          </p:txBody>
        </p:sp>
        <p:sp>
          <p:nvSpPr>
            <p:cNvPr id="20" name="3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493516" y="1797917"/>
              <a:ext cx="3165151" cy="1199268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提升厦门得整体知名度</a:t>
              </a:r>
              <a:endParaRPr lang="en-US" altLang="zh-CN" sz="1400" dirty="0"/>
            </a:p>
          </p:txBody>
        </p:sp>
        <p:sp>
          <p:nvSpPr>
            <p:cNvPr id="21" name="2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493516" y="3278577"/>
              <a:ext cx="3165151" cy="1199268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给予当地研学及教育创新建设及思路</a:t>
              </a:r>
              <a:endParaRPr lang="en-US" altLang="zh-CN" sz="1400" dirty="0"/>
            </a:p>
          </p:txBody>
        </p:sp>
        <p:sp>
          <p:nvSpPr>
            <p:cNvPr id="22" name="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8493516" y="4759236"/>
              <a:ext cx="3165151" cy="1484809"/>
            </a:xfrm>
            <a:prstGeom prst="roundRect">
              <a:avLst>
                <a:gd name="adj" fmla="val 8201"/>
              </a:avLst>
            </a:prstGeom>
            <a:noFill/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4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建立当地得飞行生态圈，将会邀请国际航联主席（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FAI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）、国家体育总局航管中心主任，航空运动协会主席，莅临指导并发表讲话。</a:t>
              </a:r>
              <a:endParaRPr lang="en-US" altLang="zh-CN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06578" y="5958506"/>
            <a:ext cx="9981326" cy="671146"/>
          </a:xfrm>
        </p:spPr>
        <p:txBody>
          <a:bodyPr>
            <a:normAutofit/>
          </a:bodyPr>
          <a:lstStyle/>
          <a:p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理想的厦门赛事赞助商及品牌</a:t>
            </a:r>
          </a:p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          </a:t>
            </a:r>
            <a:r>
              <a:rPr lang="en-US" altLang="zh-CN" sz="14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581A8525-6684-44A7-BAD5-47F8EE3266F2}"/>
              </a:ext>
            </a:extLst>
          </p:cNvPr>
          <p:cNvSpPr txBox="1"/>
          <p:nvPr/>
        </p:nvSpPr>
        <p:spPr>
          <a:xfrm>
            <a:off x="1071952" y="152481"/>
            <a:ext cx="537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</a:t>
            </a:r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世锦赛初步方案</a:t>
            </a:r>
          </a:p>
        </p:txBody>
      </p:sp>
      <p:sp>
        <p:nvSpPr>
          <p:cNvPr id="9" name="流程图: 过程 8">
            <a:extLst>
              <a:ext uri="{FF2B5EF4-FFF2-40B4-BE49-F238E27FC236}">
                <a16:creationId xmlns:a16="http://schemas.microsoft.com/office/drawing/2014/main" id="{0D7D8B43-C01A-4DEE-9DE8-BA4DC48139C8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AFCE32E-6997-4354-9604-EBAFD807C044}"/>
              </a:ext>
            </a:extLst>
          </p:cNvPr>
          <p:cNvGrpSpPr/>
          <p:nvPr/>
        </p:nvGrpSpPr>
        <p:grpSpPr>
          <a:xfrm>
            <a:off x="292423" y="146390"/>
            <a:ext cx="712800" cy="712800"/>
            <a:chOff x="8058460" y="5143897"/>
            <a:chExt cx="1291814" cy="1291814"/>
          </a:xfrm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A47F4BEE-51F6-405C-A26C-61B9E9604CD0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2" name="空心弧 11">
              <a:extLst>
                <a:ext uri="{FF2B5EF4-FFF2-40B4-BE49-F238E27FC236}">
                  <a16:creationId xmlns:a16="http://schemas.microsoft.com/office/drawing/2014/main" id="{D36DCA4B-F1BA-43BF-9C8C-7606EF553BE9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3" name="presentation_323252">
              <a:extLst>
                <a:ext uri="{FF2B5EF4-FFF2-40B4-BE49-F238E27FC236}">
                  <a16:creationId xmlns:a16="http://schemas.microsoft.com/office/drawing/2014/main" id="{BE070CFF-E501-485B-BBAD-B01F439F0D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14" name="流程图: 过程 13">
            <a:extLst>
              <a:ext uri="{FF2B5EF4-FFF2-40B4-BE49-F238E27FC236}">
                <a16:creationId xmlns:a16="http://schemas.microsoft.com/office/drawing/2014/main" id="{054481F7-8A19-46D8-B459-AD3CC773CAF9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85E6F581-0437-4950-B366-1F70A4CCEE77}"/>
              </a:ext>
            </a:extLst>
          </p:cNvPr>
          <p:cNvGrpSpPr/>
          <p:nvPr/>
        </p:nvGrpSpPr>
        <p:grpSpPr>
          <a:xfrm>
            <a:off x="1306578" y="1275459"/>
            <a:ext cx="9981326" cy="4417876"/>
            <a:chOff x="1306578" y="1275459"/>
            <a:chExt cx="9981326" cy="4417876"/>
          </a:xfrm>
        </p:grpSpPr>
        <p:sp>
          <p:nvSpPr>
            <p:cNvPr id="54" name="1">
              <a:extLst>
                <a:ext uri="{FF2B5EF4-FFF2-40B4-BE49-F238E27FC236}">
                  <a16:creationId xmlns:a16="http://schemas.microsoft.com/office/drawing/2014/main" id="{6E8C1E1E-260A-407E-8D3B-B991D506E886}"/>
                </a:ext>
              </a:extLst>
            </p:cNvPr>
            <p:cNvSpPr/>
            <p:nvPr/>
          </p:nvSpPr>
          <p:spPr>
            <a:xfrm>
              <a:off x="6119859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55" name="1">
              <a:extLst>
                <a:ext uri="{FF2B5EF4-FFF2-40B4-BE49-F238E27FC236}">
                  <a16:creationId xmlns:a16="http://schemas.microsoft.com/office/drawing/2014/main" id="{6A38AD0A-DC0B-4BFF-AE9F-75AF8C50FCEE}"/>
                </a:ext>
              </a:extLst>
            </p:cNvPr>
            <p:cNvSpPr/>
            <p:nvPr/>
          </p:nvSpPr>
          <p:spPr>
            <a:xfrm flipH="1" flipV="1">
              <a:off x="6290973" y="3031975"/>
              <a:ext cx="0" cy="1029929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  <a:defRPr sz="1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56" name="1">
              <a:extLst>
                <a:ext uri="{FF2B5EF4-FFF2-40B4-BE49-F238E27FC236}">
                  <a16:creationId xmlns:a16="http://schemas.microsoft.com/office/drawing/2014/main" id="{58658863-BE35-4FD9-B269-C42D5407124D}"/>
                </a:ext>
              </a:extLst>
            </p:cNvPr>
            <p:cNvSpPr/>
            <p:nvPr/>
          </p:nvSpPr>
          <p:spPr>
            <a:xfrm>
              <a:off x="10406474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57" name="1">
              <a:extLst>
                <a:ext uri="{FF2B5EF4-FFF2-40B4-BE49-F238E27FC236}">
                  <a16:creationId xmlns:a16="http://schemas.microsoft.com/office/drawing/2014/main" id="{0FDBBA96-5EE5-4650-A83B-88702CEC0587}"/>
                </a:ext>
              </a:extLst>
            </p:cNvPr>
            <p:cNvSpPr/>
            <p:nvPr/>
          </p:nvSpPr>
          <p:spPr>
            <a:xfrm rot="1440000" flipH="1">
              <a:off x="6681206" y="2456158"/>
              <a:ext cx="4258940" cy="7730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0215" extrusionOk="0">
                  <a:moveTo>
                    <a:pt x="0" y="10215"/>
                  </a:moveTo>
                  <a:cubicBezTo>
                    <a:pt x="10656" y="-11385"/>
                    <a:pt x="21600" y="7982"/>
                    <a:pt x="21600" y="7982"/>
                  </a:cubicBez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</a:defRPr>
              </a:pPr>
              <a:endParaRPr/>
            </a:p>
          </p:txBody>
        </p:sp>
        <p:sp>
          <p:nvSpPr>
            <p:cNvPr id="58" name="1">
              <a:extLst>
                <a:ext uri="{FF2B5EF4-FFF2-40B4-BE49-F238E27FC236}">
                  <a16:creationId xmlns:a16="http://schemas.microsoft.com/office/drawing/2014/main" id="{5B6A4211-E5F5-4B11-96C5-6A9B7B134CDF}"/>
                </a:ext>
              </a:extLst>
            </p:cNvPr>
            <p:cNvSpPr/>
            <p:nvPr/>
          </p:nvSpPr>
          <p:spPr>
            <a:xfrm>
              <a:off x="8977601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59" name="1">
              <a:extLst>
                <a:ext uri="{FF2B5EF4-FFF2-40B4-BE49-F238E27FC236}">
                  <a16:creationId xmlns:a16="http://schemas.microsoft.com/office/drawing/2014/main" id="{9082B031-D937-4A4A-8ADF-D0D1A4CF399A}"/>
                </a:ext>
              </a:extLst>
            </p:cNvPr>
            <p:cNvSpPr/>
            <p:nvPr/>
          </p:nvSpPr>
          <p:spPr>
            <a:xfrm rot="2222001" flipH="1">
              <a:off x="6634416" y="2670558"/>
              <a:ext cx="2996390" cy="5438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0215" extrusionOk="0">
                  <a:moveTo>
                    <a:pt x="0" y="10215"/>
                  </a:moveTo>
                  <a:cubicBezTo>
                    <a:pt x="10656" y="-11385"/>
                    <a:pt x="21600" y="7982"/>
                    <a:pt x="21600" y="7982"/>
                  </a:cubicBez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</a:defRPr>
              </a:pPr>
              <a:endParaRPr/>
            </a:p>
          </p:txBody>
        </p:sp>
        <p:sp>
          <p:nvSpPr>
            <p:cNvPr id="60" name="1">
              <a:extLst>
                <a:ext uri="{FF2B5EF4-FFF2-40B4-BE49-F238E27FC236}">
                  <a16:creationId xmlns:a16="http://schemas.microsoft.com/office/drawing/2014/main" id="{057E4165-971A-4664-8E3D-731381327A0F}"/>
                </a:ext>
              </a:extLst>
            </p:cNvPr>
            <p:cNvSpPr/>
            <p:nvPr/>
          </p:nvSpPr>
          <p:spPr>
            <a:xfrm>
              <a:off x="7548730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61" name="1">
              <a:extLst>
                <a:ext uri="{FF2B5EF4-FFF2-40B4-BE49-F238E27FC236}">
                  <a16:creationId xmlns:a16="http://schemas.microsoft.com/office/drawing/2014/main" id="{017AF075-73AF-4746-AA64-6ED5D4D6DE16}"/>
                </a:ext>
              </a:extLst>
            </p:cNvPr>
            <p:cNvSpPr/>
            <p:nvPr/>
          </p:nvSpPr>
          <p:spPr>
            <a:xfrm rot="3320891" flipH="1">
              <a:off x="6297144" y="2849552"/>
              <a:ext cx="2078486" cy="4557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2462" extrusionOk="0">
                  <a:moveTo>
                    <a:pt x="0" y="12462"/>
                  </a:moveTo>
                  <a:cubicBezTo>
                    <a:pt x="10552" y="-9138"/>
                    <a:pt x="21600" y="3901"/>
                    <a:pt x="21600" y="3901"/>
                  </a:cubicBez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</a:defRPr>
              </a:pPr>
              <a:endParaRPr/>
            </a:p>
          </p:txBody>
        </p:sp>
        <p:sp>
          <p:nvSpPr>
            <p:cNvPr id="62" name="1">
              <a:extLst>
                <a:ext uri="{FF2B5EF4-FFF2-40B4-BE49-F238E27FC236}">
                  <a16:creationId xmlns:a16="http://schemas.microsoft.com/office/drawing/2014/main" id="{1DBB3E96-EDFC-4F0F-A1CA-56F8A608C4D5}"/>
                </a:ext>
              </a:extLst>
            </p:cNvPr>
            <p:cNvSpPr/>
            <p:nvPr/>
          </p:nvSpPr>
          <p:spPr>
            <a:xfrm>
              <a:off x="1833246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63" name="1">
              <a:extLst>
                <a:ext uri="{FF2B5EF4-FFF2-40B4-BE49-F238E27FC236}">
                  <a16:creationId xmlns:a16="http://schemas.microsoft.com/office/drawing/2014/main" id="{C73635D5-C2E4-41C7-AA85-4221FF0EC40F}"/>
                </a:ext>
              </a:extLst>
            </p:cNvPr>
            <p:cNvSpPr/>
            <p:nvPr/>
          </p:nvSpPr>
          <p:spPr>
            <a:xfrm rot="20160000">
              <a:off x="1654334" y="2456158"/>
              <a:ext cx="4258941" cy="7730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0215" extrusionOk="0">
                  <a:moveTo>
                    <a:pt x="0" y="10215"/>
                  </a:moveTo>
                  <a:cubicBezTo>
                    <a:pt x="10656" y="-11385"/>
                    <a:pt x="21600" y="7982"/>
                    <a:pt x="21600" y="7982"/>
                  </a:cubicBez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</a:defRPr>
              </a:pPr>
              <a:endParaRPr/>
            </a:p>
          </p:txBody>
        </p:sp>
        <p:sp>
          <p:nvSpPr>
            <p:cNvPr id="64" name="1">
              <a:extLst>
                <a:ext uri="{FF2B5EF4-FFF2-40B4-BE49-F238E27FC236}">
                  <a16:creationId xmlns:a16="http://schemas.microsoft.com/office/drawing/2014/main" id="{E2A6C40C-17BA-48A5-9DFF-2698F3FE9605}"/>
                </a:ext>
              </a:extLst>
            </p:cNvPr>
            <p:cNvSpPr/>
            <p:nvPr/>
          </p:nvSpPr>
          <p:spPr>
            <a:xfrm>
              <a:off x="3262116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65" name="1">
              <a:extLst>
                <a:ext uri="{FF2B5EF4-FFF2-40B4-BE49-F238E27FC236}">
                  <a16:creationId xmlns:a16="http://schemas.microsoft.com/office/drawing/2014/main" id="{22E83620-0AC3-4D44-9334-C8F8B12B5E0C}"/>
                </a:ext>
              </a:extLst>
            </p:cNvPr>
            <p:cNvSpPr/>
            <p:nvPr/>
          </p:nvSpPr>
          <p:spPr>
            <a:xfrm rot="19377999">
              <a:off x="2963674" y="2670558"/>
              <a:ext cx="2996390" cy="5438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0215" extrusionOk="0">
                  <a:moveTo>
                    <a:pt x="0" y="10215"/>
                  </a:moveTo>
                  <a:cubicBezTo>
                    <a:pt x="10656" y="-11385"/>
                    <a:pt x="21600" y="7982"/>
                    <a:pt x="21600" y="7982"/>
                  </a:cubicBez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</a:defRPr>
              </a:pPr>
              <a:endParaRPr/>
            </a:p>
          </p:txBody>
        </p:sp>
        <p:sp>
          <p:nvSpPr>
            <p:cNvPr id="66" name="1">
              <a:extLst>
                <a:ext uri="{FF2B5EF4-FFF2-40B4-BE49-F238E27FC236}">
                  <a16:creationId xmlns:a16="http://schemas.microsoft.com/office/drawing/2014/main" id="{DE89FB1B-71AC-44A8-A415-AFCECD70B8B7}"/>
                </a:ext>
              </a:extLst>
            </p:cNvPr>
            <p:cNvSpPr/>
            <p:nvPr/>
          </p:nvSpPr>
          <p:spPr>
            <a:xfrm>
              <a:off x="4690987" y="4174446"/>
              <a:ext cx="354762" cy="354226"/>
            </a:xfrm>
            <a:custGeom>
              <a:avLst/>
              <a:gdLst>
                <a:gd name="connsiteX0" fmla="*/ 186482 w 607356"/>
                <a:gd name="connsiteY0" fmla="*/ 210567 h 606439"/>
                <a:gd name="connsiteX1" fmla="*/ 202880 w 607356"/>
                <a:gd name="connsiteY1" fmla="*/ 210567 h 606439"/>
                <a:gd name="connsiteX2" fmla="*/ 202880 w 607356"/>
                <a:gd name="connsiteY2" fmla="*/ 232708 h 606439"/>
                <a:gd name="connsiteX3" fmla="*/ 194529 w 607356"/>
                <a:gd name="connsiteY3" fmla="*/ 250754 h 606439"/>
                <a:gd name="connsiteX4" fmla="*/ 218671 w 607356"/>
                <a:gd name="connsiteY4" fmla="*/ 274715 h 606439"/>
                <a:gd name="connsiteX5" fmla="*/ 242661 w 607356"/>
                <a:gd name="connsiteY5" fmla="*/ 250754 h 606439"/>
                <a:gd name="connsiteX6" fmla="*/ 234462 w 607356"/>
                <a:gd name="connsiteY6" fmla="*/ 232708 h 606439"/>
                <a:gd name="connsiteX7" fmla="*/ 234462 w 607356"/>
                <a:gd name="connsiteY7" fmla="*/ 210567 h 606439"/>
                <a:gd name="connsiteX8" fmla="*/ 370353 w 607356"/>
                <a:gd name="connsiteY8" fmla="*/ 210567 h 606439"/>
                <a:gd name="connsiteX9" fmla="*/ 370353 w 607356"/>
                <a:gd name="connsiteY9" fmla="*/ 232708 h 606439"/>
                <a:gd name="connsiteX10" fmla="*/ 362003 w 607356"/>
                <a:gd name="connsiteY10" fmla="*/ 250754 h 606439"/>
                <a:gd name="connsiteX11" fmla="*/ 386144 w 607356"/>
                <a:gd name="connsiteY11" fmla="*/ 274715 h 606439"/>
                <a:gd name="connsiteX12" fmla="*/ 410134 w 607356"/>
                <a:gd name="connsiteY12" fmla="*/ 250754 h 606439"/>
                <a:gd name="connsiteX13" fmla="*/ 401935 w 607356"/>
                <a:gd name="connsiteY13" fmla="*/ 232708 h 606439"/>
                <a:gd name="connsiteX14" fmla="*/ 401935 w 607356"/>
                <a:gd name="connsiteY14" fmla="*/ 210567 h 606439"/>
                <a:gd name="connsiteX15" fmla="*/ 418181 w 607356"/>
                <a:gd name="connsiteY15" fmla="*/ 210567 h 606439"/>
                <a:gd name="connsiteX16" fmla="*/ 435035 w 607356"/>
                <a:gd name="connsiteY16" fmla="*/ 227400 h 606439"/>
                <a:gd name="connsiteX17" fmla="*/ 435035 w 607356"/>
                <a:gd name="connsiteY17" fmla="*/ 452144 h 606439"/>
                <a:gd name="connsiteX18" fmla="*/ 418181 w 607356"/>
                <a:gd name="connsiteY18" fmla="*/ 468977 h 606439"/>
                <a:gd name="connsiteX19" fmla="*/ 186482 w 607356"/>
                <a:gd name="connsiteY19" fmla="*/ 468977 h 606439"/>
                <a:gd name="connsiteX20" fmla="*/ 169780 w 607356"/>
                <a:gd name="connsiteY20" fmla="*/ 452144 h 606439"/>
                <a:gd name="connsiteX21" fmla="*/ 169780 w 607356"/>
                <a:gd name="connsiteY21" fmla="*/ 227400 h 606439"/>
                <a:gd name="connsiteX22" fmla="*/ 186482 w 607356"/>
                <a:gd name="connsiteY22" fmla="*/ 210567 h 606439"/>
                <a:gd name="connsiteX23" fmla="*/ 302297 w 607356"/>
                <a:gd name="connsiteY23" fmla="*/ 87642 h 606439"/>
                <a:gd name="connsiteX24" fmla="*/ 370327 w 607356"/>
                <a:gd name="connsiteY24" fmla="*/ 155579 h 606439"/>
                <a:gd name="connsiteX25" fmla="*/ 370327 w 607356"/>
                <a:gd name="connsiteY25" fmla="*/ 179236 h 606439"/>
                <a:gd name="connsiteX26" fmla="*/ 234418 w 607356"/>
                <a:gd name="connsiteY26" fmla="*/ 179236 h 606439"/>
                <a:gd name="connsiteX27" fmla="*/ 234418 w 607356"/>
                <a:gd name="connsiteY27" fmla="*/ 155579 h 606439"/>
                <a:gd name="connsiteX28" fmla="*/ 302297 w 607356"/>
                <a:gd name="connsiteY28" fmla="*/ 87642 h 606439"/>
                <a:gd name="connsiteX29" fmla="*/ 302311 w 607356"/>
                <a:gd name="connsiteY29" fmla="*/ 56247 h 606439"/>
                <a:gd name="connsiteX30" fmla="*/ 202857 w 607356"/>
                <a:gd name="connsiteY30" fmla="*/ 155552 h 606439"/>
                <a:gd name="connsiteX31" fmla="*/ 202857 w 607356"/>
                <a:gd name="connsiteY31" fmla="*/ 179203 h 606439"/>
                <a:gd name="connsiteX32" fmla="*/ 186458 w 607356"/>
                <a:gd name="connsiteY32" fmla="*/ 179203 h 606439"/>
                <a:gd name="connsiteX33" fmla="*/ 138173 w 607356"/>
                <a:gd name="connsiteY33" fmla="*/ 227415 h 606439"/>
                <a:gd name="connsiteX34" fmla="*/ 138173 w 607356"/>
                <a:gd name="connsiteY34" fmla="*/ 452100 h 606439"/>
                <a:gd name="connsiteX35" fmla="*/ 186458 w 607356"/>
                <a:gd name="connsiteY35" fmla="*/ 500312 h 606439"/>
                <a:gd name="connsiteX36" fmla="*/ 418165 w 607356"/>
                <a:gd name="connsiteY36" fmla="*/ 500312 h 606439"/>
                <a:gd name="connsiteX37" fmla="*/ 466601 w 607356"/>
                <a:gd name="connsiteY37" fmla="*/ 452100 h 606439"/>
                <a:gd name="connsiteX38" fmla="*/ 466601 w 607356"/>
                <a:gd name="connsiteY38" fmla="*/ 227415 h 606439"/>
                <a:gd name="connsiteX39" fmla="*/ 418165 w 607356"/>
                <a:gd name="connsiteY39" fmla="*/ 179203 h 606439"/>
                <a:gd name="connsiteX40" fmla="*/ 401918 w 607356"/>
                <a:gd name="connsiteY40" fmla="*/ 179203 h 606439"/>
                <a:gd name="connsiteX41" fmla="*/ 401918 w 607356"/>
                <a:gd name="connsiteY41" fmla="*/ 155552 h 606439"/>
                <a:gd name="connsiteX42" fmla="*/ 302311 w 607356"/>
                <a:gd name="connsiteY42" fmla="*/ 56247 h 606439"/>
                <a:gd name="connsiteX43" fmla="*/ 303678 w 607356"/>
                <a:gd name="connsiteY43" fmla="*/ 0 h 606439"/>
                <a:gd name="connsiteX44" fmla="*/ 607356 w 607356"/>
                <a:gd name="connsiteY44" fmla="*/ 303220 h 606439"/>
                <a:gd name="connsiteX45" fmla="*/ 303678 w 607356"/>
                <a:gd name="connsiteY45" fmla="*/ 606439 h 606439"/>
                <a:gd name="connsiteX46" fmla="*/ 0 w 607356"/>
                <a:gd name="connsiteY46" fmla="*/ 303220 h 606439"/>
                <a:gd name="connsiteX47" fmla="*/ 303678 w 607356"/>
                <a:gd name="connsiteY47" fmla="*/ 0 h 606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7356" h="606439">
                  <a:moveTo>
                    <a:pt x="186482" y="210567"/>
                  </a:moveTo>
                  <a:lnTo>
                    <a:pt x="202880" y="210567"/>
                  </a:lnTo>
                  <a:lnTo>
                    <a:pt x="202880" y="232708"/>
                  </a:lnTo>
                  <a:cubicBezTo>
                    <a:pt x="197869" y="237106"/>
                    <a:pt x="194529" y="243475"/>
                    <a:pt x="194529" y="250754"/>
                  </a:cubicBezTo>
                  <a:cubicBezTo>
                    <a:pt x="194529" y="263947"/>
                    <a:pt x="205309" y="274715"/>
                    <a:pt x="218671" y="274715"/>
                  </a:cubicBezTo>
                  <a:cubicBezTo>
                    <a:pt x="231880" y="274715"/>
                    <a:pt x="242661" y="263947"/>
                    <a:pt x="242661" y="250754"/>
                  </a:cubicBezTo>
                  <a:cubicBezTo>
                    <a:pt x="242661" y="243475"/>
                    <a:pt x="239472" y="237106"/>
                    <a:pt x="234462" y="232708"/>
                  </a:cubicBezTo>
                  <a:lnTo>
                    <a:pt x="234462" y="210567"/>
                  </a:lnTo>
                  <a:lnTo>
                    <a:pt x="370353" y="210567"/>
                  </a:lnTo>
                  <a:lnTo>
                    <a:pt x="370353" y="232708"/>
                  </a:lnTo>
                  <a:cubicBezTo>
                    <a:pt x="365343" y="237106"/>
                    <a:pt x="362003" y="243475"/>
                    <a:pt x="362003" y="250754"/>
                  </a:cubicBezTo>
                  <a:cubicBezTo>
                    <a:pt x="362003" y="263947"/>
                    <a:pt x="372783" y="274715"/>
                    <a:pt x="386144" y="274715"/>
                  </a:cubicBezTo>
                  <a:cubicBezTo>
                    <a:pt x="399354" y="274715"/>
                    <a:pt x="410134" y="263947"/>
                    <a:pt x="410134" y="250754"/>
                  </a:cubicBezTo>
                  <a:cubicBezTo>
                    <a:pt x="410134" y="243475"/>
                    <a:pt x="406946" y="237106"/>
                    <a:pt x="401935" y="232708"/>
                  </a:cubicBezTo>
                  <a:lnTo>
                    <a:pt x="401935" y="210567"/>
                  </a:lnTo>
                  <a:lnTo>
                    <a:pt x="418181" y="210567"/>
                  </a:lnTo>
                  <a:cubicBezTo>
                    <a:pt x="427443" y="210567"/>
                    <a:pt x="435035" y="218149"/>
                    <a:pt x="435035" y="227400"/>
                  </a:cubicBezTo>
                  <a:lnTo>
                    <a:pt x="435035" y="452144"/>
                  </a:lnTo>
                  <a:cubicBezTo>
                    <a:pt x="435035" y="461395"/>
                    <a:pt x="427443" y="468977"/>
                    <a:pt x="418181" y="468977"/>
                  </a:cubicBezTo>
                  <a:lnTo>
                    <a:pt x="186482" y="468977"/>
                  </a:lnTo>
                  <a:cubicBezTo>
                    <a:pt x="177220" y="468977"/>
                    <a:pt x="169780" y="461395"/>
                    <a:pt x="169780" y="452144"/>
                  </a:cubicBezTo>
                  <a:lnTo>
                    <a:pt x="169780" y="227400"/>
                  </a:lnTo>
                  <a:cubicBezTo>
                    <a:pt x="169780" y="218149"/>
                    <a:pt x="177220" y="210567"/>
                    <a:pt x="186482" y="210567"/>
                  </a:cubicBezTo>
                  <a:close/>
                  <a:moveTo>
                    <a:pt x="302297" y="87642"/>
                  </a:moveTo>
                  <a:cubicBezTo>
                    <a:pt x="339804" y="87642"/>
                    <a:pt x="370327" y="118123"/>
                    <a:pt x="370327" y="155579"/>
                  </a:cubicBezTo>
                  <a:lnTo>
                    <a:pt x="370327" y="179236"/>
                  </a:lnTo>
                  <a:lnTo>
                    <a:pt x="234418" y="179236"/>
                  </a:lnTo>
                  <a:lnTo>
                    <a:pt x="234418" y="155579"/>
                  </a:lnTo>
                  <a:cubicBezTo>
                    <a:pt x="234418" y="118123"/>
                    <a:pt x="264941" y="87642"/>
                    <a:pt x="302297" y="87642"/>
                  </a:cubicBezTo>
                  <a:close/>
                  <a:moveTo>
                    <a:pt x="302311" y="56247"/>
                  </a:moveTo>
                  <a:cubicBezTo>
                    <a:pt x="247498" y="56247"/>
                    <a:pt x="202857" y="100820"/>
                    <a:pt x="202857" y="155552"/>
                  </a:cubicBezTo>
                  <a:lnTo>
                    <a:pt x="202857" y="179203"/>
                  </a:lnTo>
                  <a:lnTo>
                    <a:pt x="186458" y="179203"/>
                  </a:lnTo>
                  <a:cubicBezTo>
                    <a:pt x="159886" y="179203"/>
                    <a:pt x="138173" y="200883"/>
                    <a:pt x="138173" y="227415"/>
                  </a:cubicBezTo>
                  <a:lnTo>
                    <a:pt x="138173" y="452100"/>
                  </a:lnTo>
                  <a:cubicBezTo>
                    <a:pt x="138173" y="478632"/>
                    <a:pt x="159886" y="500312"/>
                    <a:pt x="186458" y="500312"/>
                  </a:cubicBezTo>
                  <a:lnTo>
                    <a:pt x="418165" y="500312"/>
                  </a:lnTo>
                  <a:cubicBezTo>
                    <a:pt x="444888" y="500312"/>
                    <a:pt x="466601" y="478632"/>
                    <a:pt x="466601" y="452100"/>
                  </a:cubicBezTo>
                  <a:lnTo>
                    <a:pt x="466601" y="227415"/>
                  </a:lnTo>
                  <a:cubicBezTo>
                    <a:pt x="466601" y="200883"/>
                    <a:pt x="444888" y="179203"/>
                    <a:pt x="418165" y="179203"/>
                  </a:cubicBezTo>
                  <a:lnTo>
                    <a:pt x="401918" y="179203"/>
                  </a:lnTo>
                  <a:lnTo>
                    <a:pt x="401918" y="155552"/>
                  </a:lnTo>
                  <a:cubicBezTo>
                    <a:pt x="401918" y="100820"/>
                    <a:pt x="357277" y="56247"/>
                    <a:pt x="302311" y="56247"/>
                  </a:cubicBezTo>
                  <a:close/>
                  <a:moveTo>
                    <a:pt x="303678" y="0"/>
                  </a:moveTo>
                  <a:cubicBezTo>
                    <a:pt x="471460" y="0"/>
                    <a:pt x="607356" y="135691"/>
                    <a:pt x="607356" y="303220"/>
                  </a:cubicBezTo>
                  <a:cubicBezTo>
                    <a:pt x="607356" y="470748"/>
                    <a:pt x="471460" y="606439"/>
                    <a:pt x="303678" y="606439"/>
                  </a:cubicBezTo>
                  <a:cubicBezTo>
                    <a:pt x="135896" y="606439"/>
                    <a:pt x="0" y="470748"/>
                    <a:pt x="0" y="303220"/>
                  </a:cubicBezTo>
                  <a:cubicBezTo>
                    <a:pt x="0" y="135691"/>
                    <a:pt x="135896" y="0"/>
                    <a:pt x="30367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67" name="1">
              <a:extLst>
                <a:ext uri="{FF2B5EF4-FFF2-40B4-BE49-F238E27FC236}">
                  <a16:creationId xmlns:a16="http://schemas.microsoft.com/office/drawing/2014/main" id="{3B6D9F2C-9436-4687-A284-D7E20E2DD089}"/>
                </a:ext>
              </a:extLst>
            </p:cNvPr>
            <p:cNvSpPr/>
            <p:nvPr/>
          </p:nvSpPr>
          <p:spPr>
            <a:xfrm rot="18279109">
              <a:off x="4218851" y="2849552"/>
              <a:ext cx="2078486" cy="4557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2462" extrusionOk="0">
                  <a:moveTo>
                    <a:pt x="0" y="12462"/>
                  </a:moveTo>
                  <a:cubicBezTo>
                    <a:pt x="10552" y="-9138"/>
                    <a:pt x="21600" y="3901"/>
                    <a:pt x="21600" y="3901"/>
                  </a:cubicBez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400000"/>
              <a:headEnd type="triangle" w="med" len="med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defTabSz="584200">
                <a:lnSpc>
                  <a:spcPct val="110000"/>
                </a:lnSpc>
                <a:spcBef>
                  <a:spcPts val="3000"/>
                </a:spcBef>
                <a:defRPr sz="2000">
                  <a:solidFill>
                    <a:srgbClr val="4C4C4C"/>
                  </a:solidFill>
                </a:defRPr>
              </a:pPr>
              <a:endParaRPr/>
            </a:p>
          </p:txBody>
        </p:sp>
        <p:sp>
          <p:nvSpPr>
            <p:cNvPr id="68" name="1">
              <a:extLst>
                <a:ext uri="{FF2B5EF4-FFF2-40B4-BE49-F238E27FC236}">
                  <a16:creationId xmlns:a16="http://schemas.microsoft.com/office/drawing/2014/main" id="{0AF81CE7-0F1D-49EB-8EBE-51D8EA532447}"/>
                </a:ext>
              </a:extLst>
            </p:cNvPr>
            <p:cNvSpPr/>
            <p:nvPr/>
          </p:nvSpPr>
          <p:spPr>
            <a:xfrm>
              <a:off x="5730966" y="1275459"/>
              <a:ext cx="1132547" cy="1270800"/>
            </a:xfrm>
            <a:custGeom>
              <a:avLst/>
              <a:gdLst>
                <a:gd name="connsiteX0" fmla="*/ 0 w 532980"/>
                <a:gd name="connsiteY0" fmla="*/ 568969 h 598042"/>
                <a:gd name="connsiteX1" fmla="*/ 532980 w 532980"/>
                <a:gd name="connsiteY1" fmla="*/ 568969 h 598042"/>
                <a:gd name="connsiteX2" fmla="*/ 532980 w 532980"/>
                <a:gd name="connsiteY2" fmla="*/ 598042 h 598042"/>
                <a:gd name="connsiteX3" fmla="*/ 0 w 532980"/>
                <a:gd name="connsiteY3" fmla="*/ 598042 h 598042"/>
                <a:gd name="connsiteX4" fmla="*/ 494240 w 532980"/>
                <a:gd name="connsiteY4" fmla="*/ 437153 h 598042"/>
                <a:gd name="connsiteX5" fmla="*/ 524442 w 532980"/>
                <a:gd name="connsiteY5" fmla="*/ 437153 h 598042"/>
                <a:gd name="connsiteX6" fmla="*/ 524442 w 532980"/>
                <a:gd name="connsiteY6" fmla="*/ 559372 h 598042"/>
                <a:gd name="connsiteX7" fmla="*/ 494240 w 532980"/>
                <a:gd name="connsiteY7" fmla="*/ 559372 h 598042"/>
                <a:gd name="connsiteX8" fmla="*/ 412737 w 532980"/>
                <a:gd name="connsiteY8" fmla="*/ 437153 h 598042"/>
                <a:gd name="connsiteX9" fmla="*/ 442939 w 532980"/>
                <a:gd name="connsiteY9" fmla="*/ 437153 h 598042"/>
                <a:gd name="connsiteX10" fmla="*/ 442939 w 532980"/>
                <a:gd name="connsiteY10" fmla="*/ 559372 h 598042"/>
                <a:gd name="connsiteX11" fmla="*/ 412737 w 532980"/>
                <a:gd name="connsiteY11" fmla="*/ 559372 h 598042"/>
                <a:gd name="connsiteX12" fmla="*/ 338572 w 532980"/>
                <a:gd name="connsiteY12" fmla="*/ 437153 h 598042"/>
                <a:gd name="connsiteX13" fmla="*/ 368845 w 532980"/>
                <a:gd name="connsiteY13" fmla="*/ 437153 h 598042"/>
                <a:gd name="connsiteX14" fmla="*/ 368845 w 532980"/>
                <a:gd name="connsiteY14" fmla="*/ 559372 h 598042"/>
                <a:gd name="connsiteX15" fmla="*/ 338572 w 532980"/>
                <a:gd name="connsiteY15" fmla="*/ 559372 h 598042"/>
                <a:gd name="connsiteX16" fmla="*/ 256717 w 532980"/>
                <a:gd name="connsiteY16" fmla="*/ 437153 h 598042"/>
                <a:gd name="connsiteX17" fmla="*/ 287342 w 532980"/>
                <a:gd name="connsiteY17" fmla="*/ 437153 h 598042"/>
                <a:gd name="connsiteX18" fmla="*/ 287342 w 532980"/>
                <a:gd name="connsiteY18" fmla="*/ 559372 h 598042"/>
                <a:gd name="connsiteX19" fmla="*/ 256717 w 532980"/>
                <a:gd name="connsiteY19" fmla="*/ 559372 h 598042"/>
                <a:gd name="connsiteX20" fmla="*/ 175214 w 532980"/>
                <a:gd name="connsiteY20" fmla="*/ 437153 h 598042"/>
                <a:gd name="connsiteX21" fmla="*/ 205487 w 532980"/>
                <a:gd name="connsiteY21" fmla="*/ 437153 h 598042"/>
                <a:gd name="connsiteX22" fmla="*/ 205487 w 532980"/>
                <a:gd name="connsiteY22" fmla="*/ 559372 h 598042"/>
                <a:gd name="connsiteX23" fmla="*/ 175214 w 532980"/>
                <a:gd name="connsiteY23" fmla="*/ 559372 h 598042"/>
                <a:gd name="connsiteX24" fmla="*/ 88912 w 532980"/>
                <a:gd name="connsiteY24" fmla="*/ 437153 h 598042"/>
                <a:gd name="connsiteX25" fmla="*/ 119185 w 532980"/>
                <a:gd name="connsiteY25" fmla="*/ 437153 h 598042"/>
                <a:gd name="connsiteX26" fmla="*/ 119185 w 532980"/>
                <a:gd name="connsiteY26" fmla="*/ 559372 h 598042"/>
                <a:gd name="connsiteX27" fmla="*/ 88912 w 532980"/>
                <a:gd name="connsiteY27" fmla="*/ 559372 h 598042"/>
                <a:gd name="connsiteX28" fmla="*/ 7409 w 532980"/>
                <a:gd name="connsiteY28" fmla="*/ 437153 h 598042"/>
                <a:gd name="connsiteX29" fmla="*/ 37611 w 532980"/>
                <a:gd name="connsiteY29" fmla="*/ 437153 h 598042"/>
                <a:gd name="connsiteX30" fmla="*/ 37611 w 532980"/>
                <a:gd name="connsiteY30" fmla="*/ 559372 h 598042"/>
                <a:gd name="connsiteX31" fmla="*/ 7409 w 532980"/>
                <a:gd name="connsiteY31" fmla="*/ 559372 h 598042"/>
                <a:gd name="connsiteX32" fmla="*/ 0 w 532980"/>
                <a:gd name="connsiteY32" fmla="*/ 398483 h 598042"/>
                <a:gd name="connsiteX33" fmla="*/ 71187 w 532980"/>
                <a:gd name="connsiteY33" fmla="*/ 398483 h 598042"/>
                <a:gd name="connsiteX34" fmla="*/ 464006 w 532980"/>
                <a:gd name="connsiteY34" fmla="*/ 398483 h 598042"/>
                <a:gd name="connsiteX35" fmla="*/ 532980 w 532980"/>
                <a:gd name="connsiteY35" fmla="*/ 398483 h 598042"/>
                <a:gd name="connsiteX36" fmla="*/ 532980 w 532980"/>
                <a:gd name="connsiteY36" fmla="*/ 427556 h 598042"/>
                <a:gd name="connsiteX37" fmla="*/ 0 w 532980"/>
                <a:gd name="connsiteY37" fmla="*/ 427556 h 598042"/>
                <a:gd name="connsiteX38" fmla="*/ 415700 w 532980"/>
                <a:gd name="connsiteY38" fmla="*/ 265891 h 598042"/>
                <a:gd name="connsiteX39" fmla="*/ 445902 w 532980"/>
                <a:gd name="connsiteY39" fmla="*/ 265891 h 598042"/>
                <a:gd name="connsiteX40" fmla="*/ 445902 w 532980"/>
                <a:gd name="connsiteY40" fmla="*/ 388181 h 598042"/>
                <a:gd name="connsiteX41" fmla="*/ 415700 w 532980"/>
                <a:gd name="connsiteY41" fmla="*/ 388181 h 598042"/>
                <a:gd name="connsiteX42" fmla="*/ 334197 w 532980"/>
                <a:gd name="connsiteY42" fmla="*/ 265891 h 598042"/>
                <a:gd name="connsiteX43" fmla="*/ 364399 w 532980"/>
                <a:gd name="connsiteY43" fmla="*/ 265891 h 598042"/>
                <a:gd name="connsiteX44" fmla="*/ 364399 w 532980"/>
                <a:gd name="connsiteY44" fmla="*/ 388181 h 598042"/>
                <a:gd name="connsiteX45" fmla="*/ 334197 w 532980"/>
                <a:gd name="connsiteY45" fmla="*/ 388181 h 598042"/>
                <a:gd name="connsiteX46" fmla="*/ 252271 w 532980"/>
                <a:gd name="connsiteY46" fmla="*/ 265891 h 598042"/>
                <a:gd name="connsiteX47" fmla="*/ 282896 w 532980"/>
                <a:gd name="connsiteY47" fmla="*/ 265891 h 598042"/>
                <a:gd name="connsiteX48" fmla="*/ 282896 w 532980"/>
                <a:gd name="connsiteY48" fmla="*/ 388181 h 598042"/>
                <a:gd name="connsiteX49" fmla="*/ 252271 w 532980"/>
                <a:gd name="connsiteY49" fmla="*/ 388181 h 598042"/>
                <a:gd name="connsiteX50" fmla="*/ 166393 w 532980"/>
                <a:gd name="connsiteY50" fmla="*/ 265891 h 598042"/>
                <a:gd name="connsiteX51" fmla="*/ 196595 w 532980"/>
                <a:gd name="connsiteY51" fmla="*/ 265891 h 598042"/>
                <a:gd name="connsiteX52" fmla="*/ 196595 w 532980"/>
                <a:gd name="connsiteY52" fmla="*/ 388181 h 598042"/>
                <a:gd name="connsiteX53" fmla="*/ 166393 w 532980"/>
                <a:gd name="connsiteY53" fmla="*/ 388181 h 598042"/>
                <a:gd name="connsiteX54" fmla="*/ 84467 w 532980"/>
                <a:gd name="connsiteY54" fmla="*/ 265891 h 598042"/>
                <a:gd name="connsiteX55" fmla="*/ 115092 w 532980"/>
                <a:gd name="connsiteY55" fmla="*/ 265891 h 598042"/>
                <a:gd name="connsiteX56" fmla="*/ 115092 w 532980"/>
                <a:gd name="connsiteY56" fmla="*/ 388181 h 598042"/>
                <a:gd name="connsiteX57" fmla="*/ 84467 w 532980"/>
                <a:gd name="connsiteY57" fmla="*/ 388181 h 598042"/>
                <a:gd name="connsiteX58" fmla="*/ 267768 w 532980"/>
                <a:gd name="connsiteY58" fmla="*/ 0 h 598042"/>
                <a:gd name="connsiteX59" fmla="*/ 278463 w 532980"/>
                <a:gd name="connsiteY59" fmla="*/ 83234 h 598042"/>
                <a:gd name="connsiteX60" fmla="*/ 389102 w 532980"/>
                <a:gd name="connsiteY60" fmla="*/ 227974 h 598042"/>
                <a:gd name="connsiteX61" fmla="*/ 463967 w 532980"/>
                <a:gd name="connsiteY61" fmla="*/ 227974 h 598042"/>
                <a:gd name="connsiteX62" fmla="*/ 463967 w 532980"/>
                <a:gd name="connsiteY62" fmla="*/ 257070 h 598042"/>
                <a:gd name="connsiteX63" fmla="*/ 71200 w 532980"/>
                <a:gd name="connsiteY63" fmla="*/ 257070 h 598042"/>
                <a:gd name="connsiteX64" fmla="*/ 71200 w 532980"/>
                <a:gd name="connsiteY64" fmla="*/ 227974 h 598042"/>
                <a:gd name="connsiteX65" fmla="*/ 146065 w 532980"/>
                <a:gd name="connsiteY65" fmla="*/ 227974 h 598042"/>
                <a:gd name="connsiteX66" fmla="*/ 256704 w 532980"/>
                <a:gd name="connsiteY66" fmla="*/ 83234 h 598042"/>
                <a:gd name="connsiteX67" fmla="*/ 267768 w 532980"/>
                <a:gd name="connsiteY67" fmla="*/ 0 h 59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532980" h="598042">
                  <a:moveTo>
                    <a:pt x="0" y="568969"/>
                  </a:moveTo>
                  <a:lnTo>
                    <a:pt x="532980" y="568969"/>
                  </a:lnTo>
                  <a:lnTo>
                    <a:pt x="532980" y="598042"/>
                  </a:lnTo>
                  <a:lnTo>
                    <a:pt x="0" y="598042"/>
                  </a:lnTo>
                  <a:close/>
                  <a:moveTo>
                    <a:pt x="494240" y="437153"/>
                  </a:moveTo>
                  <a:lnTo>
                    <a:pt x="524442" y="437153"/>
                  </a:lnTo>
                  <a:lnTo>
                    <a:pt x="524442" y="559372"/>
                  </a:lnTo>
                  <a:lnTo>
                    <a:pt x="494240" y="559372"/>
                  </a:lnTo>
                  <a:close/>
                  <a:moveTo>
                    <a:pt x="412737" y="437153"/>
                  </a:moveTo>
                  <a:lnTo>
                    <a:pt x="442939" y="437153"/>
                  </a:lnTo>
                  <a:lnTo>
                    <a:pt x="442939" y="559372"/>
                  </a:lnTo>
                  <a:lnTo>
                    <a:pt x="412737" y="559372"/>
                  </a:lnTo>
                  <a:close/>
                  <a:moveTo>
                    <a:pt x="338572" y="437153"/>
                  </a:moveTo>
                  <a:lnTo>
                    <a:pt x="368845" y="437153"/>
                  </a:lnTo>
                  <a:lnTo>
                    <a:pt x="368845" y="559372"/>
                  </a:lnTo>
                  <a:lnTo>
                    <a:pt x="338572" y="559372"/>
                  </a:lnTo>
                  <a:close/>
                  <a:moveTo>
                    <a:pt x="256717" y="437153"/>
                  </a:moveTo>
                  <a:lnTo>
                    <a:pt x="287342" y="437153"/>
                  </a:lnTo>
                  <a:lnTo>
                    <a:pt x="287342" y="559372"/>
                  </a:lnTo>
                  <a:lnTo>
                    <a:pt x="256717" y="559372"/>
                  </a:lnTo>
                  <a:close/>
                  <a:moveTo>
                    <a:pt x="175214" y="437153"/>
                  </a:moveTo>
                  <a:lnTo>
                    <a:pt x="205487" y="437153"/>
                  </a:lnTo>
                  <a:lnTo>
                    <a:pt x="205487" y="559372"/>
                  </a:lnTo>
                  <a:lnTo>
                    <a:pt x="175214" y="559372"/>
                  </a:lnTo>
                  <a:close/>
                  <a:moveTo>
                    <a:pt x="88912" y="437153"/>
                  </a:moveTo>
                  <a:lnTo>
                    <a:pt x="119185" y="437153"/>
                  </a:lnTo>
                  <a:lnTo>
                    <a:pt x="119185" y="559372"/>
                  </a:lnTo>
                  <a:lnTo>
                    <a:pt x="88912" y="559372"/>
                  </a:lnTo>
                  <a:close/>
                  <a:moveTo>
                    <a:pt x="7409" y="437153"/>
                  </a:moveTo>
                  <a:lnTo>
                    <a:pt x="37611" y="437153"/>
                  </a:lnTo>
                  <a:lnTo>
                    <a:pt x="37611" y="559372"/>
                  </a:lnTo>
                  <a:lnTo>
                    <a:pt x="7409" y="559372"/>
                  </a:lnTo>
                  <a:close/>
                  <a:moveTo>
                    <a:pt x="0" y="398483"/>
                  </a:moveTo>
                  <a:lnTo>
                    <a:pt x="71187" y="398483"/>
                  </a:lnTo>
                  <a:lnTo>
                    <a:pt x="464006" y="398483"/>
                  </a:lnTo>
                  <a:lnTo>
                    <a:pt x="532980" y="398483"/>
                  </a:lnTo>
                  <a:lnTo>
                    <a:pt x="532980" y="427556"/>
                  </a:lnTo>
                  <a:lnTo>
                    <a:pt x="0" y="427556"/>
                  </a:lnTo>
                  <a:close/>
                  <a:moveTo>
                    <a:pt x="415700" y="265891"/>
                  </a:moveTo>
                  <a:lnTo>
                    <a:pt x="445902" y="265891"/>
                  </a:lnTo>
                  <a:lnTo>
                    <a:pt x="445902" y="388181"/>
                  </a:lnTo>
                  <a:lnTo>
                    <a:pt x="415700" y="388181"/>
                  </a:lnTo>
                  <a:close/>
                  <a:moveTo>
                    <a:pt x="334197" y="265891"/>
                  </a:moveTo>
                  <a:lnTo>
                    <a:pt x="364399" y="265891"/>
                  </a:lnTo>
                  <a:lnTo>
                    <a:pt x="364399" y="388181"/>
                  </a:lnTo>
                  <a:lnTo>
                    <a:pt x="334197" y="388181"/>
                  </a:lnTo>
                  <a:close/>
                  <a:moveTo>
                    <a:pt x="252271" y="265891"/>
                  </a:moveTo>
                  <a:lnTo>
                    <a:pt x="282896" y="265891"/>
                  </a:lnTo>
                  <a:lnTo>
                    <a:pt x="282896" y="388181"/>
                  </a:lnTo>
                  <a:lnTo>
                    <a:pt x="252271" y="388181"/>
                  </a:lnTo>
                  <a:close/>
                  <a:moveTo>
                    <a:pt x="166393" y="265891"/>
                  </a:moveTo>
                  <a:lnTo>
                    <a:pt x="196595" y="265891"/>
                  </a:lnTo>
                  <a:lnTo>
                    <a:pt x="196595" y="388181"/>
                  </a:lnTo>
                  <a:lnTo>
                    <a:pt x="166393" y="388181"/>
                  </a:lnTo>
                  <a:close/>
                  <a:moveTo>
                    <a:pt x="84467" y="265891"/>
                  </a:moveTo>
                  <a:lnTo>
                    <a:pt x="115092" y="265891"/>
                  </a:lnTo>
                  <a:lnTo>
                    <a:pt x="115092" y="388181"/>
                  </a:lnTo>
                  <a:lnTo>
                    <a:pt x="84467" y="388181"/>
                  </a:lnTo>
                  <a:close/>
                  <a:moveTo>
                    <a:pt x="267768" y="0"/>
                  </a:moveTo>
                  <a:cubicBezTo>
                    <a:pt x="267768" y="0"/>
                    <a:pt x="276619" y="36093"/>
                    <a:pt x="278463" y="83234"/>
                  </a:cubicBezTo>
                  <a:cubicBezTo>
                    <a:pt x="337839" y="89864"/>
                    <a:pt x="385045" y="151369"/>
                    <a:pt x="389102" y="227974"/>
                  </a:cubicBezTo>
                  <a:lnTo>
                    <a:pt x="463967" y="227974"/>
                  </a:lnTo>
                  <a:lnTo>
                    <a:pt x="463967" y="257070"/>
                  </a:lnTo>
                  <a:lnTo>
                    <a:pt x="71200" y="257070"/>
                  </a:lnTo>
                  <a:lnTo>
                    <a:pt x="71200" y="227974"/>
                  </a:lnTo>
                  <a:lnTo>
                    <a:pt x="146065" y="227974"/>
                  </a:lnTo>
                  <a:cubicBezTo>
                    <a:pt x="150122" y="151369"/>
                    <a:pt x="197328" y="89864"/>
                    <a:pt x="256704" y="83234"/>
                  </a:cubicBezTo>
                  <a:cubicBezTo>
                    <a:pt x="258548" y="36093"/>
                    <a:pt x="267768" y="0"/>
                    <a:pt x="267768" y="0"/>
                  </a:cubicBezTo>
                  <a:close/>
                </a:path>
              </a:pathLst>
            </a:custGeom>
            <a:solidFill>
              <a:srgbClr val="1D5394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89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1306578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活动报批及现场安保</a:t>
              </a:r>
              <a:endParaRPr lang="en-US" altLang="zh-CN" sz="1400" dirty="0"/>
            </a:p>
          </p:txBody>
        </p:sp>
        <p:sp>
          <p:nvSpPr>
            <p:cNvPr id="90" name="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1306578" y="4623922"/>
              <a:ext cx="1408098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公安部门</a:t>
              </a:r>
              <a:endParaRPr lang="en-US" altLang="zh-CN" b="1" dirty="0"/>
            </a:p>
          </p:txBody>
        </p:sp>
        <p:sp>
          <p:nvSpPr>
            <p:cNvPr id="87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9879806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参与人员的协调工作</a:t>
              </a:r>
              <a:endParaRPr lang="en-US" altLang="zh-CN" sz="1400" dirty="0"/>
            </a:p>
          </p:txBody>
        </p:sp>
        <p:sp>
          <p:nvSpPr>
            <p:cNvPr id="88" name="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9879806" y="4623922"/>
              <a:ext cx="1408098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团委</a:t>
              </a:r>
              <a:endParaRPr lang="en-US" altLang="zh-CN" b="1" dirty="0"/>
            </a:p>
          </p:txBody>
        </p:sp>
        <p:sp>
          <p:nvSpPr>
            <p:cNvPr id="85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2735449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活动审核及报批</a:t>
              </a:r>
              <a:endParaRPr lang="en-US" altLang="zh-CN" sz="1400" dirty="0"/>
            </a:p>
          </p:txBody>
        </p:sp>
        <p:sp>
          <p:nvSpPr>
            <p:cNvPr id="86" name="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2735449" y="4623922"/>
              <a:ext cx="1408098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消防部门</a:t>
              </a:r>
              <a:endParaRPr lang="en-US" altLang="zh-CN" b="1" dirty="0"/>
            </a:p>
          </p:txBody>
        </p:sp>
        <p:sp>
          <p:nvSpPr>
            <p:cNvPr id="83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4164320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景点协调及素材选择</a:t>
              </a:r>
              <a:endParaRPr lang="en-US" altLang="zh-CN" sz="1400" dirty="0"/>
            </a:p>
          </p:txBody>
        </p:sp>
        <p:sp>
          <p:nvSpPr>
            <p:cNvPr id="84" name="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4023360" y="4623922"/>
              <a:ext cx="1798276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旅游发展委员会</a:t>
              </a:r>
              <a:endParaRPr lang="en-US" altLang="zh-CN" b="1" dirty="0"/>
            </a:p>
          </p:txBody>
        </p:sp>
        <p:sp>
          <p:nvSpPr>
            <p:cNvPr id="81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5593191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无人机教育板块及研学活动</a:t>
              </a:r>
              <a:endParaRPr lang="en-US" altLang="zh-CN" sz="1400" dirty="0"/>
            </a:p>
          </p:txBody>
        </p:sp>
        <p:sp>
          <p:nvSpPr>
            <p:cNvPr id="82" name="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5593191" y="4623922"/>
              <a:ext cx="1408098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教育局</a:t>
              </a:r>
              <a:endParaRPr lang="en-US" altLang="zh-CN" b="1" dirty="0"/>
            </a:p>
          </p:txBody>
        </p:sp>
        <p:sp>
          <p:nvSpPr>
            <p:cNvPr id="79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7022062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技术层面的解读及普及</a:t>
              </a:r>
              <a:endParaRPr lang="en-US" altLang="zh-CN" sz="1400" dirty="0"/>
            </a:p>
          </p:txBody>
        </p:sp>
        <p:sp>
          <p:nvSpPr>
            <p:cNvPr id="80" name="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7022062" y="4623922"/>
              <a:ext cx="1408098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科技局</a:t>
              </a:r>
              <a:endParaRPr lang="en-US" altLang="zh-CN" b="1" dirty="0"/>
            </a:p>
          </p:txBody>
        </p:sp>
        <p:sp>
          <p:nvSpPr>
            <p:cNvPr id="77" name="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8450933" y="5045637"/>
              <a:ext cx="1408098" cy="647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负责组织民间达人的参与</a:t>
              </a:r>
              <a:endParaRPr lang="en-US" altLang="zh-CN" sz="1400" dirty="0"/>
            </a:p>
          </p:txBody>
        </p:sp>
        <p:sp>
          <p:nvSpPr>
            <p:cNvPr id="78" name="1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8450933" y="4623922"/>
              <a:ext cx="1408098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科协</a:t>
              </a:r>
              <a:endParaRPr lang="en-US" altLang="zh-CN" b="1" dirty="0"/>
            </a:p>
          </p:txBody>
        </p:sp>
        <p:sp>
          <p:nvSpPr>
            <p:cNvPr id="76" name="1">
              <a:extLst>
                <a:ext uri="{FF2B5EF4-FFF2-40B4-BE49-F238E27FC236}">
                  <a16:creationId xmlns:a16="http://schemas.microsoft.com/office/drawing/2014/main" id="{F617E108-A603-4ECD-97FC-2F9E100A8410}"/>
                </a:ext>
              </a:extLst>
            </p:cNvPr>
            <p:cNvSpPr/>
            <p:nvPr/>
          </p:nvSpPr>
          <p:spPr>
            <a:xfrm>
              <a:off x="5234944" y="2583919"/>
              <a:ext cx="2083745" cy="779837"/>
            </a:xfrm>
            <a:prstGeom prst="ribbon2">
              <a:avLst>
                <a:gd name="adj1" fmla="val 16667"/>
                <a:gd name="adj2" fmla="val 6879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b="1" dirty="0">
                  <a:solidFill>
                    <a:schemeClr val="tx1"/>
                  </a:solidFill>
                </a:rPr>
                <a:t>政府事务处理需要配合部门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9" grpId="0" animBg="1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594128" y="2470905"/>
            <a:ext cx="5256893" cy="3674031"/>
          </a:xfrm>
        </p:spPr>
        <p:txBody>
          <a:bodyPr>
            <a:norm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由</a:t>
            </a:r>
            <a:r>
              <a:rPr lang="en-US" altLang="zh-CN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</a:t>
            </a:r>
            <a:r>
              <a:rPr lang="zh-CN" altLang="en-US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团队负责筹划并实施</a:t>
            </a:r>
          </a:p>
          <a:p>
            <a:pPr algn="l">
              <a:lnSpc>
                <a:spcPct val="150000"/>
              </a:lnSpc>
            </a:pPr>
            <a:r>
              <a:rPr lang="zh-CN" altLang="en-US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在鼓浪屿上空用</a:t>
            </a:r>
            <a:r>
              <a:rPr lang="en-US" altLang="zh-CN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3000</a:t>
            </a:r>
            <a:r>
              <a:rPr lang="zh-CN" altLang="en-US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架无人机组成阵列蜂群。在美丽的鹭江上空打出我爱厦门的字样。画面实时变换出厦门地图外观，并由另一批无人机整列组成巨大无人机图案飞跃空中厦门地图。表演所用无人机集群数量打破现有的吉尼斯世界纪录，并在全球媒体平台同步播出，将世界文化遗产鼓浪屿再一次推向</a:t>
            </a:r>
            <a:r>
              <a:rPr lang="en-US" altLang="zh-CN" sz="1900" dirty="0" err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fei</a:t>
            </a:r>
            <a:r>
              <a:rPr lang="zh-CN" altLang="en-US" sz="19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国际舞台。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8EC5A3F-FD3B-481A-A78F-882FE4408332}"/>
              </a:ext>
            </a:extLst>
          </p:cNvPr>
          <p:cNvSpPr txBox="1"/>
          <p:nvPr/>
        </p:nvSpPr>
        <p:spPr>
          <a:xfrm>
            <a:off x="1071952" y="152481"/>
            <a:ext cx="537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厦门世锦赛初步方案</a:t>
            </a:r>
          </a:p>
        </p:txBody>
      </p:sp>
      <p:sp>
        <p:nvSpPr>
          <p:cNvPr id="9" name="流程图: 过程 8">
            <a:extLst>
              <a:ext uri="{FF2B5EF4-FFF2-40B4-BE49-F238E27FC236}">
                <a16:creationId xmlns:a16="http://schemas.microsoft.com/office/drawing/2014/main" id="{C4DF480E-04FC-4CF4-BCD1-23B174E51925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6196087E-E3BC-4798-AA5C-4196568642DE}"/>
              </a:ext>
            </a:extLst>
          </p:cNvPr>
          <p:cNvGrpSpPr/>
          <p:nvPr/>
        </p:nvGrpSpPr>
        <p:grpSpPr>
          <a:xfrm>
            <a:off x="292423" y="146390"/>
            <a:ext cx="712800" cy="712800"/>
            <a:chOff x="8058460" y="5143897"/>
            <a:chExt cx="1291814" cy="1291814"/>
          </a:xfrm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E707D3C2-5013-47C2-8D31-BA7D73C65C23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2" name="空心弧 11">
              <a:extLst>
                <a:ext uri="{FF2B5EF4-FFF2-40B4-BE49-F238E27FC236}">
                  <a16:creationId xmlns:a16="http://schemas.microsoft.com/office/drawing/2014/main" id="{959019F8-32CB-4591-8728-05CB2CA95808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3" name="presentation_323252">
              <a:extLst>
                <a:ext uri="{FF2B5EF4-FFF2-40B4-BE49-F238E27FC236}">
                  <a16:creationId xmlns:a16="http://schemas.microsoft.com/office/drawing/2014/main" id="{2F441ABB-FB5C-423F-A6CC-096F72251C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14" name="流程图: 过程 13">
            <a:extLst>
              <a:ext uri="{FF2B5EF4-FFF2-40B4-BE49-F238E27FC236}">
                <a16:creationId xmlns:a16="http://schemas.microsoft.com/office/drawing/2014/main" id="{57430608-341B-4EB3-A4E4-9720780E2EF1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BB76CEC3-E134-4787-99DB-483C15C9862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965" y="1256532"/>
            <a:ext cx="5011306" cy="5332343"/>
          </a:xfrm>
          <a:prstGeom prst="rect">
            <a:avLst/>
          </a:prstGeom>
        </p:spPr>
      </p:pic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0C6254C2-71E7-4D1A-A1E1-0DC8449D542F}"/>
              </a:ext>
            </a:extLst>
          </p:cNvPr>
          <p:cNvCxnSpPr/>
          <p:nvPr/>
        </p:nvCxnSpPr>
        <p:spPr>
          <a:xfrm>
            <a:off x="710665" y="2286000"/>
            <a:ext cx="2472720" cy="0"/>
          </a:xfrm>
          <a:prstGeom prst="line">
            <a:avLst/>
          </a:prstGeom>
          <a:ln w="34925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>
            <a:extLst>
              <a:ext uri="{FF2B5EF4-FFF2-40B4-BE49-F238E27FC236}">
                <a16:creationId xmlns:a16="http://schemas.microsoft.com/office/drawing/2014/main" id="{C5F21F68-CDEE-4669-9E4F-C696580A46DC}"/>
              </a:ext>
            </a:extLst>
          </p:cNvPr>
          <p:cNvSpPr/>
          <p:nvPr/>
        </p:nvSpPr>
        <p:spPr>
          <a:xfrm>
            <a:off x="594128" y="1414607"/>
            <a:ext cx="2670581" cy="581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破纪录计划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9" grpId="0" animBg="1"/>
      <p:bldP spid="14" grpId="0" animBg="1"/>
      <p:bldP spid="3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图片 39">
            <a:extLst>
              <a:ext uri="{FF2B5EF4-FFF2-40B4-BE49-F238E27FC236}">
                <a16:creationId xmlns:a16="http://schemas.microsoft.com/office/drawing/2014/main" id="{2FA7A86C-B9C1-4990-A2C1-FFC7344DC9C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6" r="1012"/>
          <a:stretch/>
        </p:blipFill>
        <p:spPr>
          <a:xfrm flipH="1">
            <a:off x="0" y="0"/>
            <a:ext cx="12177488" cy="6846849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49594306-A950-43A9-A39F-EC757ED0312C}"/>
              </a:ext>
            </a:extLst>
          </p:cNvPr>
          <p:cNvSpPr/>
          <p:nvPr/>
        </p:nvSpPr>
        <p:spPr>
          <a:xfrm>
            <a:off x="14512" y="-1040"/>
            <a:ext cx="12177488" cy="6846849"/>
          </a:xfrm>
          <a:prstGeom prst="rect">
            <a:avLst/>
          </a:prstGeom>
          <a:gradFill flip="none" rotWithShape="1">
            <a:gsLst>
              <a:gs pos="0">
                <a:srgbClr val="162B7A"/>
              </a:gs>
              <a:gs pos="94000">
                <a:srgbClr val="021C69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854568" y="1213831"/>
            <a:ext cx="5109091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600" b="1" dirty="0">
                <a:solidFill>
                  <a:schemeClr val="bg1"/>
                </a:solidFill>
              </a:rPr>
              <a:t>感谢聆听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854568" y="3328508"/>
            <a:ext cx="5986354" cy="877034"/>
          </a:xfrm>
          <a:prstGeom prst="roundRect">
            <a:avLst>
              <a:gd name="adj" fmla="val 2475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3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CE5F5CA6-B585-413B-A995-903A41CAB6F8}"/>
              </a:ext>
            </a:extLst>
          </p:cNvPr>
          <p:cNvGrpSpPr/>
          <p:nvPr/>
        </p:nvGrpSpPr>
        <p:grpSpPr>
          <a:xfrm>
            <a:off x="907863" y="3474637"/>
            <a:ext cx="5933059" cy="584775"/>
            <a:chOff x="1141879" y="3474637"/>
            <a:chExt cx="5933059" cy="584775"/>
          </a:xfrm>
        </p:grpSpPr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4242B3BD-6D36-4FC6-9CCA-FF54CBF4D346}"/>
                </a:ext>
              </a:extLst>
            </p:cNvPr>
            <p:cNvSpPr txBox="1"/>
            <p:nvPr/>
          </p:nvSpPr>
          <p:spPr>
            <a:xfrm>
              <a:off x="1141879" y="3474637"/>
              <a:ext cx="145424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/>
              <a:r>
                <a:rPr lang="en-US" altLang="zh-CN" sz="32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>
                          <a:alpha val="21000"/>
                        </a:schemeClr>
                      </a:gs>
                    </a:gsLst>
                    <a:lin ang="0" scaled="1"/>
                  </a:gradFill>
                </a:rPr>
                <a:t>Thank</a:t>
              </a:r>
              <a:endParaRPr lang="zh-CN" altLang="en-US" sz="3200" b="1" dirty="0">
                <a:gradFill>
                  <a:gsLst>
                    <a:gs pos="0">
                      <a:schemeClr val="tx1"/>
                    </a:gs>
                    <a:gs pos="100000">
                      <a:schemeClr val="tx1">
                        <a:alpha val="21000"/>
                      </a:schemeClr>
                    </a:gs>
                  </a:gsLst>
                  <a:lin ang="0" scaled="1"/>
                </a:gradFill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FE21ABE-9591-400B-8C97-768BF41CEE99}"/>
                </a:ext>
              </a:extLst>
            </p:cNvPr>
            <p:cNvSpPr txBox="1"/>
            <p:nvPr/>
          </p:nvSpPr>
          <p:spPr>
            <a:xfrm>
              <a:off x="2466670" y="3474637"/>
              <a:ext cx="95128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/>
              <a:r>
                <a:rPr lang="en-US" altLang="zh-CN" sz="32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>
                          <a:alpha val="21000"/>
                        </a:schemeClr>
                      </a:gs>
                    </a:gsLst>
                  </a:gradFill>
                </a:rPr>
                <a:t>You</a:t>
              </a:r>
              <a:endParaRPr lang="zh-CN" altLang="en-US" sz="3200" b="1" dirty="0">
                <a:gradFill>
                  <a:gsLst>
                    <a:gs pos="0">
                      <a:schemeClr val="tx1"/>
                    </a:gs>
                    <a:gs pos="100000">
                      <a:schemeClr val="tx1">
                        <a:alpha val="21000"/>
                      </a:schemeClr>
                    </a:gs>
                  </a:gsLst>
                </a:gradFill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BDD535BE-81AC-43FB-A37C-E927DAD04CF5}"/>
                </a:ext>
              </a:extLst>
            </p:cNvPr>
            <p:cNvSpPr txBox="1"/>
            <p:nvPr/>
          </p:nvSpPr>
          <p:spPr>
            <a:xfrm>
              <a:off x="3288503" y="3474637"/>
              <a:ext cx="85792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/>
              <a:r>
                <a:rPr lang="en-US" altLang="zh-CN" sz="32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>
                          <a:alpha val="21000"/>
                        </a:schemeClr>
                      </a:gs>
                    </a:gsLst>
                  </a:gradFill>
                </a:rPr>
                <a:t>For</a:t>
              </a:r>
              <a:endParaRPr lang="zh-CN" altLang="en-US" sz="3200" b="1" dirty="0">
                <a:gradFill>
                  <a:gsLst>
                    <a:gs pos="0">
                      <a:schemeClr val="tx1"/>
                    </a:gs>
                    <a:gs pos="100000">
                      <a:schemeClr val="tx1">
                        <a:alpha val="21000"/>
                      </a:schemeClr>
                    </a:gs>
                  </a:gsLst>
                </a:gradFill>
              </a:endParaRP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798E880A-FE9C-462E-938D-F2822E1F9414}"/>
                </a:ext>
              </a:extLst>
            </p:cNvPr>
            <p:cNvSpPr txBox="1"/>
            <p:nvPr/>
          </p:nvSpPr>
          <p:spPr>
            <a:xfrm>
              <a:off x="4016977" y="3474637"/>
              <a:ext cx="112101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/>
              <a:r>
                <a:rPr lang="en-US" altLang="zh-CN" sz="32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>
                          <a:alpha val="21000"/>
                        </a:schemeClr>
                      </a:gs>
                    </a:gsLst>
                  </a:gradFill>
                </a:rPr>
                <a:t>Your</a:t>
              </a:r>
              <a:endParaRPr lang="zh-CN" altLang="en-US" sz="3200" b="1" dirty="0">
                <a:gradFill>
                  <a:gsLst>
                    <a:gs pos="0">
                      <a:schemeClr val="tx1"/>
                    </a:gs>
                    <a:gs pos="100000">
                      <a:schemeClr val="tx1">
                        <a:alpha val="21000"/>
                      </a:schemeClr>
                    </a:gs>
                  </a:gsLst>
                </a:gradFill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FF1D07F9-0535-4213-B7A6-FC5020B07E3C}"/>
                </a:ext>
              </a:extLst>
            </p:cNvPr>
            <p:cNvSpPr txBox="1"/>
            <p:nvPr/>
          </p:nvSpPr>
          <p:spPr>
            <a:xfrm>
              <a:off x="5008538" y="3474637"/>
              <a:ext cx="206640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/>
              <a:r>
                <a:rPr lang="en-US" altLang="zh-CN" sz="3200" b="1" dirty="0">
                  <a:gradFill>
                    <a:gsLst>
                      <a:gs pos="0">
                        <a:schemeClr val="tx1"/>
                      </a:gs>
                      <a:gs pos="100000">
                        <a:schemeClr val="tx1">
                          <a:alpha val="21000"/>
                        </a:schemeClr>
                      </a:gs>
                    </a:gsLst>
                  </a:gradFill>
                </a:rPr>
                <a:t>Listening</a:t>
              </a:r>
              <a:endParaRPr lang="zh-CN" altLang="en-US" sz="3200" b="1" dirty="0">
                <a:gradFill>
                  <a:gsLst>
                    <a:gs pos="0">
                      <a:schemeClr val="tx1"/>
                    </a:gs>
                    <a:gs pos="100000">
                      <a:schemeClr val="tx1">
                        <a:alpha val="21000"/>
                      </a:schemeClr>
                    </a:gs>
                  </a:gsLst>
                </a:gradFill>
              </a:endParaRPr>
            </a:p>
          </p:txBody>
        </p:sp>
      </p:grpSp>
      <p:sp>
        <p:nvSpPr>
          <p:cNvPr id="14" name="矩形 13">
            <a:extLst>
              <a:ext uri="{FF2B5EF4-FFF2-40B4-BE49-F238E27FC236}">
                <a16:creationId xmlns:a16="http://schemas.microsoft.com/office/drawing/2014/main" id="{1A6F46D1-3D60-43A8-A5C7-53BB83D02B11}"/>
              </a:ext>
            </a:extLst>
          </p:cNvPr>
          <p:cNvSpPr/>
          <p:nvPr/>
        </p:nvSpPr>
        <p:spPr>
          <a:xfrm>
            <a:off x="854568" y="5154599"/>
            <a:ext cx="6096000" cy="29597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1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</a:t>
            </a:r>
            <a:r>
              <a: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月</a:t>
            </a:r>
            <a:r>
              <a: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  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日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FF60F30-0981-40DC-B502-3A37930F214E}"/>
              </a:ext>
            </a:extLst>
          </p:cNvPr>
          <p:cNvSpPr txBox="1"/>
          <p:nvPr/>
        </p:nvSpPr>
        <p:spPr>
          <a:xfrm>
            <a:off x="854568" y="4649634"/>
            <a:ext cx="29113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XXXXXX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科技有限公司</a:t>
            </a:r>
          </a:p>
        </p:txBody>
      </p:sp>
    </p:spTree>
    <p:extLst>
      <p:ext uri="{BB962C8B-B14F-4D97-AF65-F5344CB8AC3E}">
        <p14:creationId xmlns:p14="http://schemas.microsoft.com/office/powerpoint/2010/main" val="136389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650"/>
                            </p:stCondLst>
                            <p:childTnLst>
                              <p:par>
                                <p:cTn id="10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5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1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  <p:bldP spid="14" grpId="0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框 14">
            <a:extLst>
              <a:ext uri="{FF2B5EF4-FFF2-40B4-BE49-F238E27FC236}">
                <a16:creationId xmlns:a16="http://schemas.microsoft.com/office/drawing/2014/main" id="{79C8F81F-CE48-4E84-BF43-19B28D38B117}"/>
              </a:ext>
            </a:extLst>
          </p:cNvPr>
          <p:cNvSpPr txBox="1"/>
          <p:nvPr/>
        </p:nvSpPr>
        <p:spPr>
          <a:xfrm>
            <a:off x="1097614" y="5194145"/>
            <a:ext cx="1487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1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6A25079D-E36E-4EB1-96FA-52A87D4A616C}"/>
              </a:ext>
            </a:extLst>
          </p:cNvPr>
          <p:cNvSpPr txBox="1"/>
          <p:nvPr/>
        </p:nvSpPr>
        <p:spPr>
          <a:xfrm>
            <a:off x="1030558" y="5643477"/>
            <a:ext cx="1621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公司简介</a:t>
            </a:r>
          </a:p>
        </p:txBody>
      </p: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4509A1BB-26CB-42F6-A76B-217F379E7404}"/>
              </a:ext>
            </a:extLst>
          </p:cNvPr>
          <p:cNvGrpSpPr/>
          <p:nvPr/>
        </p:nvGrpSpPr>
        <p:grpSpPr>
          <a:xfrm>
            <a:off x="1387309" y="4014518"/>
            <a:ext cx="908035" cy="908035"/>
            <a:chOff x="8016509" y="1243419"/>
            <a:chExt cx="1291814" cy="1291814"/>
          </a:xfrm>
        </p:grpSpPr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2A0C010A-637C-4A17-B298-C86E60E60C86}"/>
                </a:ext>
              </a:extLst>
            </p:cNvPr>
            <p:cNvGrpSpPr/>
            <p:nvPr/>
          </p:nvGrpSpPr>
          <p:grpSpPr>
            <a:xfrm>
              <a:off x="8156448" y="1376172"/>
              <a:ext cx="1011936" cy="1011936"/>
              <a:chOff x="9424416" y="1334859"/>
              <a:chExt cx="1316736" cy="1316736"/>
            </a:xfrm>
          </p:grpSpPr>
          <p:sp>
            <p:nvSpPr>
              <p:cNvPr id="14" name="椭圆 13">
                <a:extLst>
                  <a:ext uri="{FF2B5EF4-FFF2-40B4-BE49-F238E27FC236}">
                    <a16:creationId xmlns:a16="http://schemas.microsoft.com/office/drawing/2014/main" id="{8C448023-5FB6-444D-A7B5-ECF8D583F28E}"/>
                  </a:ext>
                </a:extLst>
              </p:cNvPr>
              <p:cNvSpPr/>
              <p:nvPr/>
            </p:nvSpPr>
            <p:spPr>
              <a:xfrm>
                <a:off x="9424416" y="1334859"/>
                <a:ext cx="1316736" cy="1316736"/>
              </a:xfrm>
              <a:prstGeom prst="ellipse">
                <a:avLst/>
              </a:prstGeom>
              <a:solidFill>
                <a:srgbClr val="1D53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3" name="triptych-brochure_30017">
                <a:extLst>
                  <a:ext uri="{FF2B5EF4-FFF2-40B4-BE49-F238E27FC236}">
                    <a16:creationId xmlns:a16="http://schemas.microsoft.com/office/drawing/2014/main" id="{2F507812-EF7E-4C5C-B186-2D8550B49C7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779693" y="1693514"/>
                <a:ext cx="628013" cy="626915"/>
              </a:xfrm>
              <a:custGeom>
                <a:avLst/>
                <a:gdLst>
                  <a:gd name="connsiteX0" fmla="*/ 242039 w 605098"/>
                  <a:gd name="connsiteY0" fmla="*/ 412737 h 604040"/>
                  <a:gd name="connsiteX1" fmla="*/ 362988 w 605098"/>
                  <a:gd name="connsiteY1" fmla="*/ 412737 h 604040"/>
                  <a:gd name="connsiteX2" fmla="*/ 362988 w 605098"/>
                  <a:gd name="connsiteY2" fmla="*/ 523595 h 604040"/>
                  <a:gd name="connsiteX3" fmla="*/ 242039 w 605098"/>
                  <a:gd name="connsiteY3" fmla="*/ 523595 h 604040"/>
                  <a:gd name="connsiteX4" fmla="*/ 560997 w 605098"/>
                  <a:gd name="connsiteY4" fmla="*/ 357132 h 604040"/>
                  <a:gd name="connsiteX5" fmla="*/ 568051 w 605098"/>
                  <a:gd name="connsiteY5" fmla="*/ 364480 h 604040"/>
                  <a:gd name="connsiteX6" fmla="*/ 559197 w 605098"/>
                  <a:gd name="connsiteY6" fmla="*/ 377526 h 604040"/>
                  <a:gd name="connsiteX7" fmla="*/ 475303 w 605098"/>
                  <a:gd name="connsiteY7" fmla="*/ 417263 h 604040"/>
                  <a:gd name="connsiteX8" fmla="*/ 470951 w 605098"/>
                  <a:gd name="connsiteY8" fmla="*/ 418312 h 604040"/>
                  <a:gd name="connsiteX9" fmla="*/ 463897 w 605098"/>
                  <a:gd name="connsiteY9" fmla="*/ 410815 h 604040"/>
                  <a:gd name="connsiteX10" fmla="*/ 472602 w 605098"/>
                  <a:gd name="connsiteY10" fmla="*/ 397919 h 604040"/>
                  <a:gd name="connsiteX11" fmla="*/ 556645 w 605098"/>
                  <a:gd name="connsiteY11" fmla="*/ 358032 h 604040"/>
                  <a:gd name="connsiteX12" fmla="*/ 560997 w 605098"/>
                  <a:gd name="connsiteY12" fmla="*/ 357132 h 604040"/>
                  <a:gd name="connsiteX13" fmla="*/ 560997 w 605098"/>
                  <a:gd name="connsiteY13" fmla="*/ 310417 h 604040"/>
                  <a:gd name="connsiteX14" fmla="*/ 568051 w 605098"/>
                  <a:gd name="connsiteY14" fmla="*/ 317756 h 604040"/>
                  <a:gd name="connsiteX15" fmla="*/ 559197 w 605098"/>
                  <a:gd name="connsiteY15" fmla="*/ 330787 h 604040"/>
                  <a:gd name="connsiteX16" fmla="*/ 475303 w 605098"/>
                  <a:gd name="connsiteY16" fmla="*/ 370479 h 604040"/>
                  <a:gd name="connsiteX17" fmla="*/ 470951 w 605098"/>
                  <a:gd name="connsiteY17" fmla="*/ 371527 h 604040"/>
                  <a:gd name="connsiteX18" fmla="*/ 463897 w 605098"/>
                  <a:gd name="connsiteY18" fmla="*/ 364188 h 604040"/>
                  <a:gd name="connsiteX19" fmla="*/ 472602 w 605098"/>
                  <a:gd name="connsiteY19" fmla="*/ 351157 h 604040"/>
                  <a:gd name="connsiteX20" fmla="*/ 556645 w 605098"/>
                  <a:gd name="connsiteY20" fmla="*/ 311465 h 604040"/>
                  <a:gd name="connsiteX21" fmla="*/ 560997 w 605098"/>
                  <a:gd name="connsiteY21" fmla="*/ 310417 h 604040"/>
                  <a:gd name="connsiteX22" fmla="*/ 44092 w 605098"/>
                  <a:gd name="connsiteY22" fmla="*/ 310417 h 604040"/>
                  <a:gd name="connsiteX23" fmla="*/ 48445 w 605098"/>
                  <a:gd name="connsiteY23" fmla="*/ 311465 h 604040"/>
                  <a:gd name="connsiteX24" fmla="*/ 132496 w 605098"/>
                  <a:gd name="connsiteY24" fmla="*/ 351157 h 604040"/>
                  <a:gd name="connsiteX25" fmla="*/ 141201 w 605098"/>
                  <a:gd name="connsiteY25" fmla="*/ 364188 h 604040"/>
                  <a:gd name="connsiteX26" fmla="*/ 134147 w 605098"/>
                  <a:gd name="connsiteY26" fmla="*/ 371527 h 604040"/>
                  <a:gd name="connsiteX27" fmla="*/ 129944 w 605098"/>
                  <a:gd name="connsiteY27" fmla="*/ 370629 h 604040"/>
                  <a:gd name="connsiteX28" fmla="*/ 45893 w 605098"/>
                  <a:gd name="connsiteY28" fmla="*/ 330787 h 604040"/>
                  <a:gd name="connsiteX29" fmla="*/ 37188 w 605098"/>
                  <a:gd name="connsiteY29" fmla="*/ 317756 h 604040"/>
                  <a:gd name="connsiteX30" fmla="*/ 44092 w 605098"/>
                  <a:gd name="connsiteY30" fmla="*/ 310417 h 604040"/>
                  <a:gd name="connsiteX31" fmla="*/ 242073 w 605098"/>
                  <a:gd name="connsiteY31" fmla="*/ 261727 h 604040"/>
                  <a:gd name="connsiteX32" fmla="*/ 363016 w 605098"/>
                  <a:gd name="connsiteY32" fmla="*/ 261727 h 604040"/>
                  <a:gd name="connsiteX33" fmla="*/ 373220 w 605098"/>
                  <a:gd name="connsiteY33" fmla="*/ 271778 h 604040"/>
                  <a:gd name="connsiteX34" fmla="*/ 363016 w 605098"/>
                  <a:gd name="connsiteY34" fmla="*/ 281979 h 604040"/>
                  <a:gd name="connsiteX35" fmla="*/ 242073 w 605098"/>
                  <a:gd name="connsiteY35" fmla="*/ 281979 h 604040"/>
                  <a:gd name="connsiteX36" fmla="*/ 232019 w 605098"/>
                  <a:gd name="connsiteY36" fmla="*/ 271778 h 604040"/>
                  <a:gd name="connsiteX37" fmla="*/ 242073 w 605098"/>
                  <a:gd name="connsiteY37" fmla="*/ 261727 h 604040"/>
                  <a:gd name="connsiteX38" fmla="*/ 242073 w 605098"/>
                  <a:gd name="connsiteY38" fmla="*/ 221434 h 604040"/>
                  <a:gd name="connsiteX39" fmla="*/ 363016 w 605098"/>
                  <a:gd name="connsiteY39" fmla="*/ 221434 h 604040"/>
                  <a:gd name="connsiteX40" fmla="*/ 373220 w 605098"/>
                  <a:gd name="connsiteY40" fmla="*/ 231635 h 604040"/>
                  <a:gd name="connsiteX41" fmla="*/ 363016 w 605098"/>
                  <a:gd name="connsiteY41" fmla="*/ 241686 h 604040"/>
                  <a:gd name="connsiteX42" fmla="*/ 242073 w 605098"/>
                  <a:gd name="connsiteY42" fmla="*/ 241686 h 604040"/>
                  <a:gd name="connsiteX43" fmla="*/ 232019 w 605098"/>
                  <a:gd name="connsiteY43" fmla="*/ 231635 h 604040"/>
                  <a:gd name="connsiteX44" fmla="*/ 242073 w 605098"/>
                  <a:gd name="connsiteY44" fmla="*/ 221434 h 604040"/>
                  <a:gd name="connsiteX45" fmla="*/ 564735 w 605098"/>
                  <a:gd name="connsiteY45" fmla="*/ 192785 h 604040"/>
                  <a:gd name="connsiteX46" fmla="*/ 564735 w 605098"/>
                  <a:gd name="connsiteY46" fmla="*/ 262610 h 604040"/>
                  <a:gd name="connsiteX47" fmla="*/ 464038 w 605098"/>
                  <a:gd name="connsiteY47" fmla="*/ 310559 h 604040"/>
                  <a:gd name="connsiteX48" fmla="*/ 464038 w 605098"/>
                  <a:gd name="connsiteY48" fmla="*/ 240733 h 604040"/>
                  <a:gd name="connsiteX49" fmla="*/ 242073 w 605098"/>
                  <a:gd name="connsiteY49" fmla="*/ 181283 h 604040"/>
                  <a:gd name="connsiteX50" fmla="*/ 363016 w 605098"/>
                  <a:gd name="connsiteY50" fmla="*/ 181283 h 604040"/>
                  <a:gd name="connsiteX51" fmla="*/ 373220 w 605098"/>
                  <a:gd name="connsiteY51" fmla="*/ 191303 h 604040"/>
                  <a:gd name="connsiteX52" fmla="*/ 363016 w 605098"/>
                  <a:gd name="connsiteY52" fmla="*/ 201324 h 604040"/>
                  <a:gd name="connsiteX53" fmla="*/ 242073 w 605098"/>
                  <a:gd name="connsiteY53" fmla="*/ 201324 h 604040"/>
                  <a:gd name="connsiteX54" fmla="*/ 232019 w 605098"/>
                  <a:gd name="connsiteY54" fmla="*/ 191303 h 604040"/>
                  <a:gd name="connsiteX55" fmla="*/ 242073 w 605098"/>
                  <a:gd name="connsiteY55" fmla="*/ 181283 h 604040"/>
                  <a:gd name="connsiteX56" fmla="*/ 40363 w 605098"/>
                  <a:gd name="connsiteY56" fmla="*/ 122219 h 604040"/>
                  <a:gd name="connsiteX57" fmla="*/ 141201 w 605098"/>
                  <a:gd name="connsiteY57" fmla="*/ 170165 h 604040"/>
                  <a:gd name="connsiteX58" fmla="*/ 141201 w 605098"/>
                  <a:gd name="connsiteY58" fmla="*/ 310558 h 604040"/>
                  <a:gd name="connsiteX59" fmla="*/ 40363 w 605098"/>
                  <a:gd name="connsiteY59" fmla="*/ 262611 h 604040"/>
                  <a:gd name="connsiteX60" fmla="*/ 211764 w 605098"/>
                  <a:gd name="connsiteY60" fmla="*/ 100661 h 604040"/>
                  <a:gd name="connsiteX61" fmla="*/ 211764 w 605098"/>
                  <a:gd name="connsiteY61" fmla="*/ 583965 h 604040"/>
                  <a:gd name="connsiteX62" fmla="*/ 393335 w 605098"/>
                  <a:gd name="connsiteY62" fmla="*/ 583965 h 604040"/>
                  <a:gd name="connsiteX63" fmla="*/ 393335 w 605098"/>
                  <a:gd name="connsiteY63" fmla="*/ 100661 h 604040"/>
                  <a:gd name="connsiteX64" fmla="*/ 191656 w 605098"/>
                  <a:gd name="connsiteY64" fmla="*/ 80586 h 604040"/>
                  <a:gd name="connsiteX65" fmla="*/ 413443 w 605098"/>
                  <a:gd name="connsiteY65" fmla="*/ 80586 h 604040"/>
                  <a:gd name="connsiteX66" fmla="*/ 413443 w 605098"/>
                  <a:gd name="connsiteY66" fmla="*/ 604040 h 604040"/>
                  <a:gd name="connsiteX67" fmla="*/ 191656 w 605098"/>
                  <a:gd name="connsiteY67" fmla="*/ 604040 h 604040"/>
                  <a:gd name="connsiteX68" fmla="*/ 584990 w 605098"/>
                  <a:gd name="connsiteY68" fmla="*/ 30561 h 604040"/>
                  <a:gd name="connsiteX69" fmla="*/ 443782 w 605098"/>
                  <a:gd name="connsiteY69" fmla="*/ 93632 h 604040"/>
                  <a:gd name="connsiteX70" fmla="*/ 443782 w 605098"/>
                  <a:gd name="connsiteY70" fmla="*/ 573029 h 604040"/>
                  <a:gd name="connsiteX71" fmla="*/ 584990 w 605098"/>
                  <a:gd name="connsiteY71" fmla="*/ 510408 h 604040"/>
                  <a:gd name="connsiteX72" fmla="*/ 20107 w 605098"/>
                  <a:gd name="connsiteY72" fmla="*/ 30561 h 604040"/>
                  <a:gd name="connsiteX73" fmla="*/ 20107 w 605098"/>
                  <a:gd name="connsiteY73" fmla="*/ 510408 h 604040"/>
                  <a:gd name="connsiteX74" fmla="*/ 161308 w 605098"/>
                  <a:gd name="connsiteY74" fmla="*/ 573029 h 604040"/>
                  <a:gd name="connsiteX75" fmla="*/ 161308 w 605098"/>
                  <a:gd name="connsiteY75" fmla="*/ 93632 h 604040"/>
                  <a:gd name="connsiteX76" fmla="*/ 605098 w 605098"/>
                  <a:gd name="connsiteY76" fmla="*/ 0 h 604040"/>
                  <a:gd name="connsiteX77" fmla="*/ 605098 w 605098"/>
                  <a:gd name="connsiteY77" fmla="*/ 523591 h 604040"/>
                  <a:gd name="connsiteX78" fmla="*/ 423674 w 605098"/>
                  <a:gd name="connsiteY78" fmla="*/ 604040 h 604040"/>
                  <a:gd name="connsiteX79" fmla="*/ 423674 w 605098"/>
                  <a:gd name="connsiteY79" fmla="*/ 80598 h 604040"/>
                  <a:gd name="connsiteX80" fmla="*/ 0 w 605098"/>
                  <a:gd name="connsiteY80" fmla="*/ 0 h 604040"/>
                  <a:gd name="connsiteX81" fmla="*/ 181565 w 605098"/>
                  <a:gd name="connsiteY81" fmla="*/ 80598 h 604040"/>
                  <a:gd name="connsiteX82" fmla="*/ 181565 w 605098"/>
                  <a:gd name="connsiteY82" fmla="*/ 604040 h 604040"/>
                  <a:gd name="connsiteX83" fmla="*/ 0 w 605098"/>
                  <a:gd name="connsiteY83" fmla="*/ 523591 h 604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5098" h="604040">
                    <a:moveTo>
                      <a:pt x="242039" y="412737"/>
                    </a:moveTo>
                    <a:lnTo>
                      <a:pt x="362988" y="412737"/>
                    </a:lnTo>
                    <a:lnTo>
                      <a:pt x="362988" y="523595"/>
                    </a:lnTo>
                    <a:lnTo>
                      <a:pt x="242039" y="523595"/>
                    </a:lnTo>
                    <a:close/>
                    <a:moveTo>
                      <a:pt x="560997" y="357132"/>
                    </a:moveTo>
                    <a:cubicBezTo>
                      <a:pt x="565050" y="357132"/>
                      <a:pt x="568051" y="360131"/>
                      <a:pt x="568051" y="364480"/>
                    </a:cubicBezTo>
                    <a:cubicBezTo>
                      <a:pt x="568051" y="369428"/>
                      <a:pt x="564149" y="375276"/>
                      <a:pt x="559197" y="377526"/>
                    </a:cubicBezTo>
                    <a:lnTo>
                      <a:pt x="475303" y="417263"/>
                    </a:lnTo>
                    <a:cubicBezTo>
                      <a:pt x="473802" y="418012"/>
                      <a:pt x="472301" y="418312"/>
                      <a:pt x="470951" y="418312"/>
                    </a:cubicBezTo>
                    <a:cubicBezTo>
                      <a:pt x="466899" y="418312"/>
                      <a:pt x="464047" y="415313"/>
                      <a:pt x="463897" y="410815"/>
                    </a:cubicBezTo>
                    <a:cubicBezTo>
                      <a:pt x="463897" y="405866"/>
                      <a:pt x="467799" y="400168"/>
                      <a:pt x="472602" y="397919"/>
                    </a:cubicBezTo>
                    <a:lnTo>
                      <a:pt x="556645" y="358032"/>
                    </a:lnTo>
                    <a:cubicBezTo>
                      <a:pt x="558146" y="357432"/>
                      <a:pt x="559647" y="357132"/>
                      <a:pt x="560997" y="357132"/>
                    </a:cubicBezTo>
                    <a:close/>
                    <a:moveTo>
                      <a:pt x="560997" y="310417"/>
                    </a:moveTo>
                    <a:cubicBezTo>
                      <a:pt x="565050" y="310417"/>
                      <a:pt x="568051" y="313412"/>
                      <a:pt x="568051" y="317756"/>
                    </a:cubicBezTo>
                    <a:cubicBezTo>
                      <a:pt x="568051" y="322848"/>
                      <a:pt x="564149" y="328540"/>
                      <a:pt x="559197" y="330787"/>
                    </a:cubicBezTo>
                    <a:lnTo>
                      <a:pt x="475303" y="370479"/>
                    </a:lnTo>
                    <a:cubicBezTo>
                      <a:pt x="473802" y="371228"/>
                      <a:pt x="472301" y="371527"/>
                      <a:pt x="470951" y="371527"/>
                    </a:cubicBezTo>
                    <a:cubicBezTo>
                      <a:pt x="466899" y="371527"/>
                      <a:pt x="464047" y="368532"/>
                      <a:pt x="463897" y="364188"/>
                    </a:cubicBezTo>
                    <a:cubicBezTo>
                      <a:pt x="463897" y="359245"/>
                      <a:pt x="467799" y="353403"/>
                      <a:pt x="472602" y="351157"/>
                    </a:cubicBezTo>
                    <a:lnTo>
                      <a:pt x="556645" y="311465"/>
                    </a:lnTo>
                    <a:cubicBezTo>
                      <a:pt x="558146" y="310716"/>
                      <a:pt x="559647" y="310417"/>
                      <a:pt x="560997" y="310417"/>
                    </a:cubicBezTo>
                    <a:close/>
                    <a:moveTo>
                      <a:pt x="44092" y="310417"/>
                    </a:moveTo>
                    <a:cubicBezTo>
                      <a:pt x="45593" y="310417"/>
                      <a:pt x="46944" y="310716"/>
                      <a:pt x="48445" y="311465"/>
                    </a:cubicBezTo>
                    <a:lnTo>
                      <a:pt x="132496" y="351157"/>
                    </a:lnTo>
                    <a:cubicBezTo>
                      <a:pt x="137299" y="353403"/>
                      <a:pt x="141201" y="359245"/>
                      <a:pt x="141201" y="364188"/>
                    </a:cubicBezTo>
                    <a:cubicBezTo>
                      <a:pt x="141201" y="368532"/>
                      <a:pt x="138349" y="371527"/>
                      <a:pt x="134147" y="371527"/>
                    </a:cubicBezTo>
                    <a:cubicBezTo>
                      <a:pt x="132796" y="371527"/>
                      <a:pt x="131295" y="371228"/>
                      <a:pt x="129944" y="370629"/>
                    </a:cubicBezTo>
                    <a:lnTo>
                      <a:pt x="45893" y="330787"/>
                    </a:lnTo>
                    <a:cubicBezTo>
                      <a:pt x="40940" y="328540"/>
                      <a:pt x="37188" y="322848"/>
                      <a:pt x="37188" y="317756"/>
                    </a:cubicBezTo>
                    <a:cubicBezTo>
                      <a:pt x="37188" y="313412"/>
                      <a:pt x="40040" y="310417"/>
                      <a:pt x="44092" y="310417"/>
                    </a:cubicBezTo>
                    <a:close/>
                    <a:moveTo>
                      <a:pt x="242073" y="261727"/>
                    </a:moveTo>
                    <a:lnTo>
                      <a:pt x="363016" y="261727"/>
                    </a:lnTo>
                    <a:cubicBezTo>
                      <a:pt x="368568" y="261727"/>
                      <a:pt x="373220" y="266227"/>
                      <a:pt x="373220" y="271778"/>
                    </a:cubicBezTo>
                    <a:cubicBezTo>
                      <a:pt x="373220" y="277478"/>
                      <a:pt x="368568" y="281979"/>
                      <a:pt x="363016" y="281979"/>
                    </a:cubicBezTo>
                    <a:lnTo>
                      <a:pt x="242073" y="281979"/>
                    </a:lnTo>
                    <a:cubicBezTo>
                      <a:pt x="236521" y="281979"/>
                      <a:pt x="232019" y="277328"/>
                      <a:pt x="232019" y="271778"/>
                    </a:cubicBezTo>
                    <a:cubicBezTo>
                      <a:pt x="232019" y="266227"/>
                      <a:pt x="236521" y="261727"/>
                      <a:pt x="242073" y="261727"/>
                    </a:cubicBezTo>
                    <a:close/>
                    <a:moveTo>
                      <a:pt x="242073" y="221434"/>
                    </a:moveTo>
                    <a:lnTo>
                      <a:pt x="363016" y="221434"/>
                    </a:lnTo>
                    <a:cubicBezTo>
                      <a:pt x="368568" y="221434"/>
                      <a:pt x="373220" y="226084"/>
                      <a:pt x="373220" y="231635"/>
                    </a:cubicBezTo>
                    <a:cubicBezTo>
                      <a:pt x="373220" y="237185"/>
                      <a:pt x="368568" y="241686"/>
                      <a:pt x="363016" y="241686"/>
                    </a:cubicBezTo>
                    <a:lnTo>
                      <a:pt x="242073" y="241686"/>
                    </a:lnTo>
                    <a:cubicBezTo>
                      <a:pt x="236521" y="241686"/>
                      <a:pt x="232019" y="237185"/>
                      <a:pt x="232019" y="231635"/>
                    </a:cubicBezTo>
                    <a:cubicBezTo>
                      <a:pt x="232019" y="226084"/>
                      <a:pt x="236521" y="221434"/>
                      <a:pt x="242073" y="221434"/>
                    </a:cubicBezTo>
                    <a:close/>
                    <a:moveTo>
                      <a:pt x="564735" y="192785"/>
                    </a:moveTo>
                    <a:lnTo>
                      <a:pt x="564735" y="262610"/>
                    </a:lnTo>
                    <a:lnTo>
                      <a:pt x="464038" y="310559"/>
                    </a:lnTo>
                    <a:lnTo>
                      <a:pt x="464038" y="240733"/>
                    </a:lnTo>
                    <a:close/>
                    <a:moveTo>
                      <a:pt x="242073" y="181283"/>
                    </a:moveTo>
                    <a:lnTo>
                      <a:pt x="363016" y="181283"/>
                    </a:lnTo>
                    <a:cubicBezTo>
                      <a:pt x="368568" y="181283"/>
                      <a:pt x="373220" y="185770"/>
                      <a:pt x="373220" y="191303"/>
                    </a:cubicBezTo>
                    <a:cubicBezTo>
                      <a:pt x="373220" y="196837"/>
                      <a:pt x="368568" y="201324"/>
                      <a:pt x="363016" y="201324"/>
                    </a:cubicBezTo>
                    <a:lnTo>
                      <a:pt x="242073" y="201324"/>
                    </a:lnTo>
                    <a:cubicBezTo>
                      <a:pt x="236521" y="201324"/>
                      <a:pt x="232019" y="196837"/>
                      <a:pt x="232019" y="191303"/>
                    </a:cubicBezTo>
                    <a:cubicBezTo>
                      <a:pt x="232019" y="185770"/>
                      <a:pt x="236521" y="181283"/>
                      <a:pt x="242073" y="181283"/>
                    </a:cubicBezTo>
                    <a:close/>
                    <a:moveTo>
                      <a:pt x="40363" y="122219"/>
                    </a:moveTo>
                    <a:lnTo>
                      <a:pt x="141201" y="170165"/>
                    </a:lnTo>
                    <a:lnTo>
                      <a:pt x="141201" y="310558"/>
                    </a:lnTo>
                    <a:lnTo>
                      <a:pt x="40363" y="262611"/>
                    </a:lnTo>
                    <a:close/>
                    <a:moveTo>
                      <a:pt x="211764" y="100661"/>
                    </a:moveTo>
                    <a:lnTo>
                      <a:pt x="211764" y="583965"/>
                    </a:lnTo>
                    <a:lnTo>
                      <a:pt x="393335" y="583965"/>
                    </a:lnTo>
                    <a:lnTo>
                      <a:pt x="393335" y="100661"/>
                    </a:lnTo>
                    <a:close/>
                    <a:moveTo>
                      <a:pt x="191656" y="80586"/>
                    </a:moveTo>
                    <a:lnTo>
                      <a:pt x="413443" y="80586"/>
                    </a:lnTo>
                    <a:lnTo>
                      <a:pt x="413443" y="604040"/>
                    </a:lnTo>
                    <a:lnTo>
                      <a:pt x="191656" y="604040"/>
                    </a:lnTo>
                    <a:close/>
                    <a:moveTo>
                      <a:pt x="584990" y="30561"/>
                    </a:moveTo>
                    <a:lnTo>
                      <a:pt x="443782" y="93632"/>
                    </a:lnTo>
                    <a:lnTo>
                      <a:pt x="443782" y="573029"/>
                    </a:lnTo>
                    <a:lnTo>
                      <a:pt x="584990" y="510408"/>
                    </a:lnTo>
                    <a:close/>
                    <a:moveTo>
                      <a:pt x="20107" y="30561"/>
                    </a:moveTo>
                    <a:lnTo>
                      <a:pt x="20107" y="510408"/>
                    </a:lnTo>
                    <a:lnTo>
                      <a:pt x="161308" y="573029"/>
                    </a:lnTo>
                    <a:lnTo>
                      <a:pt x="161308" y="93632"/>
                    </a:lnTo>
                    <a:close/>
                    <a:moveTo>
                      <a:pt x="605098" y="0"/>
                    </a:moveTo>
                    <a:lnTo>
                      <a:pt x="605098" y="523591"/>
                    </a:lnTo>
                    <a:lnTo>
                      <a:pt x="423674" y="604040"/>
                    </a:lnTo>
                    <a:lnTo>
                      <a:pt x="423674" y="80598"/>
                    </a:lnTo>
                    <a:close/>
                    <a:moveTo>
                      <a:pt x="0" y="0"/>
                    </a:moveTo>
                    <a:lnTo>
                      <a:pt x="181565" y="80598"/>
                    </a:lnTo>
                    <a:lnTo>
                      <a:pt x="181565" y="604040"/>
                    </a:lnTo>
                    <a:lnTo>
                      <a:pt x="0" y="52359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8" name="空心弧 17">
              <a:extLst>
                <a:ext uri="{FF2B5EF4-FFF2-40B4-BE49-F238E27FC236}">
                  <a16:creationId xmlns:a16="http://schemas.microsoft.com/office/drawing/2014/main" id="{5A8DD883-E85E-4CED-AC02-567210846977}"/>
                </a:ext>
              </a:extLst>
            </p:cNvPr>
            <p:cNvSpPr/>
            <p:nvPr/>
          </p:nvSpPr>
          <p:spPr>
            <a:xfrm>
              <a:off x="8016509" y="1243419"/>
              <a:ext cx="1291814" cy="1291814"/>
            </a:xfrm>
            <a:prstGeom prst="blockArc">
              <a:avLst>
                <a:gd name="adj1" fmla="val 6572985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2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96DD0F26-C578-400A-A057-C011F16D2CBF}"/>
              </a:ext>
            </a:extLst>
          </p:cNvPr>
          <p:cNvGrpSpPr/>
          <p:nvPr/>
        </p:nvGrpSpPr>
        <p:grpSpPr>
          <a:xfrm>
            <a:off x="4194123" y="4014518"/>
            <a:ext cx="908035" cy="908035"/>
            <a:chOff x="8016509" y="2624163"/>
            <a:chExt cx="1291814" cy="1291814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33DD6C23-DD8F-4D64-A202-5B96E173C8D8}"/>
                </a:ext>
              </a:extLst>
            </p:cNvPr>
            <p:cNvSpPr/>
            <p:nvPr/>
          </p:nvSpPr>
          <p:spPr>
            <a:xfrm>
              <a:off x="8156448" y="2756916"/>
              <a:ext cx="1011936" cy="1011936"/>
            </a:xfrm>
            <a:prstGeom prst="ellipse">
              <a:avLst/>
            </a:prstGeom>
            <a:solidFill>
              <a:srgbClr val="229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2" name="空心弧 21">
              <a:extLst>
                <a:ext uri="{FF2B5EF4-FFF2-40B4-BE49-F238E27FC236}">
                  <a16:creationId xmlns:a16="http://schemas.microsoft.com/office/drawing/2014/main" id="{BF01F7FB-5C15-4937-9D9E-26E7A83E8F2A}"/>
                </a:ext>
              </a:extLst>
            </p:cNvPr>
            <p:cNvSpPr/>
            <p:nvPr/>
          </p:nvSpPr>
          <p:spPr>
            <a:xfrm rot="5118468">
              <a:off x="8016509" y="2624163"/>
              <a:ext cx="1291814" cy="1291814"/>
            </a:xfrm>
            <a:prstGeom prst="blockArc">
              <a:avLst>
                <a:gd name="adj1" fmla="val 5956882"/>
                <a:gd name="adj2" fmla="val 45231"/>
                <a:gd name="adj3" fmla="val 4758"/>
              </a:avLst>
            </a:prstGeom>
            <a:gradFill>
              <a:gsLst>
                <a:gs pos="0">
                  <a:srgbClr val="229AB4"/>
                </a:gs>
                <a:gs pos="94000">
                  <a:srgbClr val="229AB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pic>
          <p:nvPicPr>
            <p:cNvPr id="31" name="图片 30">
              <a:extLst>
                <a:ext uri="{FF2B5EF4-FFF2-40B4-BE49-F238E27FC236}">
                  <a16:creationId xmlns:a16="http://schemas.microsoft.com/office/drawing/2014/main" id="{0F939EF7-89C2-424A-B081-DF693898C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5914" y="2869232"/>
              <a:ext cx="773004" cy="773004"/>
            </a:xfrm>
            <a:prstGeom prst="rect">
              <a:avLst/>
            </a:prstGeom>
          </p:spPr>
        </p:pic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E7DDC1D0-76B3-4D56-878B-A54B8C0D6E5B}"/>
              </a:ext>
            </a:extLst>
          </p:cNvPr>
          <p:cNvSpPr txBox="1"/>
          <p:nvPr/>
        </p:nvSpPr>
        <p:spPr>
          <a:xfrm>
            <a:off x="3904428" y="5194145"/>
            <a:ext cx="1487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2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EFDA4FAC-B0D5-4342-955B-525AEF1E747C}"/>
              </a:ext>
            </a:extLst>
          </p:cNvPr>
          <p:cNvSpPr txBox="1"/>
          <p:nvPr/>
        </p:nvSpPr>
        <p:spPr>
          <a:xfrm>
            <a:off x="3859724" y="5643477"/>
            <a:ext cx="1621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赛事简介</a:t>
            </a: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4B045705-B224-49E4-BE08-931F1C5DE15C}"/>
              </a:ext>
            </a:extLst>
          </p:cNvPr>
          <p:cNvGrpSpPr/>
          <p:nvPr/>
        </p:nvGrpSpPr>
        <p:grpSpPr>
          <a:xfrm>
            <a:off x="7000937" y="4014518"/>
            <a:ext cx="908035" cy="908035"/>
            <a:chOff x="8016509" y="3824986"/>
            <a:chExt cx="1291814" cy="1291814"/>
          </a:xfrm>
        </p:grpSpPr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92A0A60-B7A9-48D8-A55B-D19C64771208}"/>
                </a:ext>
              </a:extLst>
            </p:cNvPr>
            <p:cNvSpPr/>
            <p:nvPr/>
          </p:nvSpPr>
          <p:spPr>
            <a:xfrm>
              <a:off x="8156448" y="3957739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6" name="空心弧 25">
              <a:extLst>
                <a:ext uri="{FF2B5EF4-FFF2-40B4-BE49-F238E27FC236}">
                  <a16:creationId xmlns:a16="http://schemas.microsoft.com/office/drawing/2014/main" id="{81C6172B-3DB0-45A9-882D-61823125F30E}"/>
                </a:ext>
              </a:extLst>
            </p:cNvPr>
            <p:cNvSpPr/>
            <p:nvPr/>
          </p:nvSpPr>
          <p:spPr>
            <a:xfrm rot="10610290">
              <a:off x="8016509" y="3824986"/>
              <a:ext cx="1291814" cy="1291814"/>
            </a:xfrm>
            <a:prstGeom prst="blockArc">
              <a:avLst>
                <a:gd name="adj1" fmla="val 7518296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2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33" name="analytics_230928">
              <a:extLst>
                <a:ext uri="{FF2B5EF4-FFF2-40B4-BE49-F238E27FC236}">
                  <a16:creationId xmlns:a16="http://schemas.microsoft.com/office/drawing/2014/main" id="{B760E57C-F4D0-4F55-A66B-D6B6241C4E2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34859" y="4217950"/>
              <a:ext cx="525184" cy="524389"/>
            </a:xfrm>
            <a:custGeom>
              <a:avLst/>
              <a:gdLst>
                <a:gd name="T0" fmla="*/ 4096 w 6827"/>
                <a:gd name="T1" fmla="*/ 4551 h 6827"/>
                <a:gd name="T2" fmla="*/ 6258 w 6827"/>
                <a:gd name="T3" fmla="*/ 4096 h 6827"/>
                <a:gd name="T4" fmla="*/ 2348 w 6827"/>
                <a:gd name="T5" fmla="*/ 4911 h 6827"/>
                <a:gd name="T6" fmla="*/ 569 w 6827"/>
                <a:gd name="T7" fmla="*/ 4551 h 6827"/>
                <a:gd name="T8" fmla="*/ 569 w 6827"/>
                <a:gd name="T9" fmla="*/ 3982 h 6827"/>
                <a:gd name="T10" fmla="*/ 1707 w 6827"/>
                <a:gd name="T11" fmla="*/ 2503 h 6827"/>
                <a:gd name="T12" fmla="*/ 3868 w 6827"/>
                <a:gd name="T13" fmla="*/ 2731 h 6827"/>
                <a:gd name="T14" fmla="*/ 5827 w 6827"/>
                <a:gd name="T15" fmla="*/ 2004 h 6827"/>
                <a:gd name="T16" fmla="*/ 6258 w 6827"/>
                <a:gd name="T17" fmla="*/ 1820 h 6827"/>
                <a:gd name="T18" fmla="*/ 4779 w 6827"/>
                <a:gd name="T19" fmla="*/ 0 h 6827"/>
                <a:gd name="T20" fmla="*/ 2854 w 6827"/>
                <a:gd name="T21" fmla="*/ 2381 h 6827"/>
                <a:gd name="T22" fmla="*/ 1239 w 6827"/>
                <a:gd name="T23" fmla="*/ 2257 h 6827"/>
                <a:gd name="T24" fmla="*/ 569 w 6827"/>
                <a:gd name="T25" fmla="*/ 2844 h 6827"/>
                <a:gd name="T26" fmla="*/ 569 w 6827"/>
                <a:gd name="T27" fmla="*/ 2276 h 6827"/>
                <a:gd name="T28" fmla="*/ 569 w 6827"/>
                <a:gd name="T29" fmla="*/ 1707 h 6827"/>
                <a:gd name="T30" fmla="*/ 569 w 6827"/>
                <a:gd name="T31" fmla="*/ 1138 h 6827"/>
                <a:gd name="T32" fmla="*/ 569 w 6827"/>
                <a:gd name="T33" fmla="*/ 569 h 6827"/>
                <a:gd name="T34" fmla="*/ 341 w 6827"/>
                <a:gd name="T35" fmla="*/ 0 h 6827"/>
                <a:gd name="T36" fmla="*/ 114 w 6827"/>
                <a:gd name="T37" fmla="*/ 569 h 6827"/>
                <a:gd name="T38" fmla="*/ 114 w 6827"/>
                <a:gd name="T39" fmla="*/ 1138 h 6827"/>
                <a:gd name="T40" fmla="*/ 114 w 6827"/>
                <a:gd name="T41" fmla="*/ 1707 h 6827"/>
                <a:gd name="T42" fmla="*/ 114 w 6827"/>
                <a:gd name="T43" fmla="*/ 2276 h 6827"/>
                <a:gd name="T44" fmla="*/ 114 w 6827"/>
                <a:gd name="T45" fmla="*/ 2844 h 6827"/>
                <a:gd name="T46" fmla="*/ 114 w 6827"/>
                <a:gd name="T47" fmla="*/ 3413 h 6827"/>
                <a:gd name="T48" fmla="*/ 114 w 6827"/>
                <a:gd name="T49" fmla="*/ 3982 h 6827"/>
                <a:gd name="T50" fmla="*/ 114 w 6827"/>
                <a:gd name="T51" fmla="*/ 4551 h 6827"/>
                <a:gd name="T52" fmla="*/ 114 w 6827"/>
                <a:gd name="T53" fmla="*/ 5120 h 6827"/>
                <a:gd name="T54" fmla="*/ 114 w 6827"/>
                <a:gd name="T55" fmla="*/ 5689 h 6827"/>
                <a:gd name="T56" fmla="*/ 114 w 6827"/>
                <a:gd name="T57" fmla="*/ 6258 h 6827"/>
                <a:gd name="T58" fmla="*/ 683 w 6827"/>
                <a:gd name="T59" fmla="*/ 6713 h 6827"/>
                <a:gd name="T60" fmla="*/ 1252 w 6827"/>
                <a:gd name="T61" fmla="*/ 6713 h 6827"/>
                <a:gd name="T62" fmla="*/ 1820 w 6827"/>
                <a:gd name="T63" fmla="*/ 6713 h 6827"/>
                <a:gd name="T64" fmla="*/ 2389 w 6827"/>
                <a:gd name="T65" fmla="*/ 6713 h 6827"/>
                <a:gd name="T66" fmla="*/ 2958 w 6827"/>
                <a:gd name="T67" fmla="*/ 6713 h 6827"/>
                <a:gd name="T68" fmla="*/ 3527 w 6827"/>
                <a:gd name="T69" fmla="*/ 6713 h 6827"/>
                <a:gd name="T70" fmla="*/ 4096 w 6827"/>
                <a:gd name="T71" fmla="*/ 6713 h 6827"/>
                <a:gd name="T72" fmla="*/ 4665 w 6827"/>
                <a:gd name="T73" fmla="*/ 6713 h 6827"/>
                <a:gd name="T74" fmla="*/ 5234 w 6827"/>
                <a:gd name="T75" fmla="*/ 6713 h 6827"/>
                <a:gd name="T76" fmla="*/ 5803 w 6827"/>
                <a:gd name="T77" fmla="*/ 6713 h 6827"/>
                <a:gd name="T78" fmla="*/ 6371 w 6827"/>
                <a:gd name="T79" fmla="*/ 6713 h 6827"/>
                <a:gd name="T80" fmla="*/ 6827 w 6827"/>
                <a:gd name="T81" fmla="*/ 6485 h 6827"/>
                <a:gd name="T82" fmla="*/ 6371 w 6827"/>
                <a:gd name="T83" fmla="*/ 6258 h 6827"/>
                <a:gd name="T84" fmla="*/ 5803 w 6827"/>
                <a:gd name="T85" fmla="*/ 6258 h 6827"/>
                <a:gd name="T86" fmla="*/ 5234 w 6827"/>
                <a:gd name="T87" fmla="*/ 6258 h 6827"/>
                <a:gd name="T88" fmla="*/ 4665 w 6827"/>
                <a:gd name="T89" fmla="*/ 6258 h 6827"/>
                <a:gd name="T90" fmla="*/ 4096 w 6827"/>
                <a:gd name="T91" fmla="*/ 6258 h 6827"/>
                <a:gd name="T92" fmla="*/ 3527 w 6827"/>
                <a:gd name="T93" fmla="*/ 6258 h 6827"/>
                <a:gd name="T94" fmla="*/ 2958 w 6827"/>
                <a:gd name="T95" fmla="*/ 6258 h 6827"/>
                <a:gd name="T96" fmla="*/ 2389 w 6827"/>
                <a:gd name="T97" fmla="*/ 6258 h 6827"/>
                <a:gd name="T98" fmla="*/ 1820 w 6827"/>
                <a:gd name="T99" fmla="*/ 6258 h 6827"/>
                <a:gd name="T100" fmla="*/ 1252 w 6827"/>
                <a:gd name="T101" fmla="*/ 6258 h 6827"/>
                <a:gd name="T102" fmla="*/ 683 w 6827"/>
                <a:gd name="T103" fmla="*/ 6258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826" h="6826">
                  <a:moveTo>
                    <a:pt x="1263" y="5234"/>
                  </a:moveTo>
                  <a:cubicBezTo>
                    <a:pt x="1316" y="5493"/>
                    <a:pt x="1546" y="5689"/>
                    <a:pt x="1820" y="5689"/>
                  </a:cubicBezTo>
                  <a:cubicBezTo>
                    <a:pt x="2114" y="5689"/>
                    <a:pt x="2354" y="5464"/>
                    <a:pt x="2383" y="5178"/>
                  </a:cubicBezTo>
                  <a:lnTo>
                    <a:pt x="3568" y="4191"/>
                  </a:lnTo>
                  <a:cubicBezTo>
                    <a:pt x="3652" y="4401"/>
                    <a:pt x="3856" y="4551"/>
                    <a:pt x="4096" y="4551"/>
                  </a:cubicBezTo>
                  <a:cubicBezTo>
                    <a:pt x="4348" y="4551"/>
                    <a:pt x="4560" y="4385"/>
                    <a:pt x="4635" y="4157"/>
                  </a:cubicBezTo>
                  <a:lnTo>
                    <a:pt x="5696" y="4736"/>
                  </a:lnTo>
                  <a:cubicBezTo>
                    <a:pt x="5732" y="5016"/>
                    <a:pt x="5969" y="5234"/>
                    <a:pt x="6258" y="5234"/>
                  </a:cubicBezTo>
                  <a:cubicBezTo>
                    <a:pt x="6571" y="5234"/>
                    <a:pt x="6827" y="4979"/>
                    <a:pt x="6827" y="4665"/>
                  </a:cubicBezTo>
                  <a:cubicBezTo>
                    <a:pt x="6827" y="4351"/>
                    <a:pt x="6571" y="4096"/>
                    <a:pt x="6258" y="4096"/>
                  </a:cubicBezTo>
                  <a:cubicBezTo>
                    <a:pt x="6006" y="4096"/>
                    <a:pt x="5794" y="4262"/>
                    <a:pt x="5719" y="4490"/>
                  </a:cubicBezTo>
                  <a:lnTo>
                    <a:pt x="4658" y="3911"/>
                  </a:lnTo>
                  <a:cubicBezTo>
                    <a:pt x="4622" y="3631"/>
                    <a:pt x="4385" y="3413"/>
                    <a:pt x="4096" y="3413"/>
                  </a:cubicBezTo>
                  <a:cubicBezTo>
                    <a:pt x="3802" y="3413"/>
                    <a:pt x="3563" y="3638"/>
                    <a:pt x="3533" y="3924"/>
                  </a:cubicBezTo>
                  <a:lnTo>
                    <a:pt x="2348" y="4911"/>
                  </a:lnTo>
                  <a:cubicBezTo>
                    <a:pt x="2265" y="4701"/>
                    <a:pt x="2060" y="4551"/>
                    <a:pt x="1820" y="4551"/>
                  </a:cubicBezTo>
                  <a:cubicBezTo>
                    <a:pt x="1546" y="4551"/>
                    <a:pt x="1316" y="4747"/>
                    <a:pt x="1263" y="5006"/>
                  </a:cubicBezTo>
                  <a:lnTo>
                    <a:pt x="455" y="5006"/>
                  </a:lnTo>
                  <a:lnTo>
                    <a:pt x="455" y="4551"/>
                  </a:lnTo>
                  <a:lnTo>
                    <a:pt x="569" y="4551"/>
                  </a:lnTo>
                  <a:cubicBezTo>
                    <a:pt x="632" y="4551"/>
                    <a:pt x="683" y="4500"/>
                    <a:pt x="683" y="4437"/>
                  </a:cubicBezTo>
                  <a:cubicBezTo>
                    <a:pt x="683" y="4374"/>
                    <a:pt x="632" y="4324"/>
                    <a:pt x="569" y="4324"/>
                  </a:cubicBezTo>
                  <a:lnTo>
                    <a:pt x="455" y="4324"/>
                  </a:lnTo>
                  <a:lnTo>
                    <a:pt x="455" y="3982"/>
                  </a:lnTo>
                  <a:lnTo>
                    <a:pt x="569" y="3982"/>
                  </a:lnTo>
                  <a:cubicBezTo>
                    <a:pt x="632" y="3982"/>
                    <a:pt x="683" y="3931"/>
                    <a:pt x="683" y="3868"/>
                  </a:cubicBezTo>
                  <a:cubicBezTo>
                    <a:pt x="683" y="3806"/>
                    <a:pt x="632" y="3755"/>
                    <a:pt x="569" y="3755"/>
                  </a:cubicBezTo>
                  <a:lnTo>
                    <a:pt x="480" y="3755"/>
                  </a:lnTo>
                  <a:lnTo>
                    <a:pt x="1407" y="2416"/>
                  </a:lnTo>
                  <a:cubicBezTo>
                    <a:pt x="1494" y="2470"/>
                    <a:pt x="1596" y="2503"/>
                    <a:pt x="1707" y="2503"/>
                  </a:cubicBezTo>
                  <a:cubicBezTo>
                    <a:pt x="1888" y="2503"/>
                    <a:pt x="2048" y="2416"/>
                    <a:pt x="2152" y="2284"/>
                  </a:cubicBezTo>
                  <a:lnTo>
                    <a:pt x="2752" y="2584"/>
                  </a:lnTo>
                  <a:cubicBezTo>
                    <a:pt x="2740" y="2631"/>
                    <a:pt x="2731" y="2680"/>
                    <a:pt x="2731" y="2731"/>
                  </a:cubicBezTo>
                  <a:cubicBezTo>
                    <a:pt x="2731" y="3044"/>
                    <a:pt x="2986" y="3300"/>
                    <a:pt x="3300" y="3300"/>
                  </a:cubicBezTo>
                  <a:cubicBezTo>
                    <a:pt x="3613" y="3300"/>
                    <a:pt x="3868" y="3044"/>
                    <a:pt x="3868" y="2731"/>
                  </a:cubicBezTo>
                  <a:cubicBezTo>
                    <a:pt x="3868" y="2608"/>
                    <a:pt x="3829" y="2496"/>
                    <a:pt x="3763" y="2403"/>
                  </a:cubicBezTo>
                  <a:lnTo>
                    <a:pt x="4488" y="1055"/>
                  </a:lnTo>
                  <a:cubicBezTo>
                    <a:pt x="4574" y="1107"/>
                    <a:pt x="4672" y="1138"/>
                    <a:pt x="4779" y="1138"/>
                  </a:cubicBezTo>
                  <a:cubicBezTo>
                    <a:pt x="4891" y="1138"/>
                    <a:pt x="4995" y="1104"/>
                    <a:pt x="5083" y="1048"/>
                  </a:cubicBezTo>
                  <a:lnTo>
                    <a:pt x="5827" y="2004"/>
                  </a:lnTo>
                  <a:cubicBezTo>
                    <a:pt x="5829" y="2007"/>
                    <a:pt x="5833" y="2009"/>
                    <a:pt x="5836" y="2011"/>
                  </a:cubicBezTo>
                  <a:cubicBezTo>
                    <a:pt x="5745" y="2112"/>
                    <a:pt x="5689" y="2244"/>
                    <a:pt x="5689" y="2389"/>
                  </a:cubicBezTo>
                  <a:cubicBezTo>
                    <a:pt x="5689" y="2703"/>
                    <a:pt x="5944" y="2958"/>
                    <a:pt x="6258" y="2958"/>
                  </a:cubicBezTo>
                  <a:cubicBezTo>
                    <a:pt x="6571" y="2958"/>
                    <a:pt x="6827" y="2703"/>
                    <a:pt x="6827" y="2389"/>
                  </a:cubicBezTo>
                  <a:cubicBezTo>
                    <a:pt x="6827" y="2076"/>
                    <a:pt x="6571" y="1820"/>
                    <a:pt x="6258" y="1820"/>
                  </a:cubicBezTo>
                  <a:cubicBezTo>
                    <a:pt x="6170" y="1820"/>
                    <a:pt x="6087" y="1842"/>
                    <a:pt x="6013" y="1878"/>
                  </a:cubicBezTo>
                  <a:cubicBezTo>
                    <a:pt x="6010" y="1874"/>
                    <a:pt x="6010" y="1869"/>
                    <a:pt x="6006" y="1864"/>
                  </a:cubicBezTo>
                  <a:lnTo>
                    <a:pt x="5248" y="890"/>
                  </a:lnTo>
                  <a:cubicBezTo>
                    <a:pt x="5311" y="798"/>
                    <a:pt x="5348" y="688"/>
                    <a:pt x="5348" y="569"/>
                  </a:cubicBezTo>
                  <a:cubicBezTo>
                    <a:pt x="5348" y="255"/>
                    <a:pt x="5092" y="0"/>
                    <a:pt x="4779" y="0"/>
                  </a:cubicBezTo>
                  <a:cubicBezTo>
                    <a:pt x="4465" y="0"/>
                    <a:pt x="4210" y="255"/>
                    <a:pt x="4210" y="569"/>
                  </a:cubicBezTo>
                  <a:cubicBezTo>
                    <a:pt x="4210" y="691"/>
                    <a:pt x="4249" y="804"/>
                    <a:pt x="4315" y="897"/>
                  </a:cubicBezTo>
                  <a:lnTo>
                    <a:pt x="3590" y="2244"/>
                  </a:lnTo>
                  <a:cubicBezTo>
                    <a:pt x="3505" y="2193"/>
                    <a:pt x="3406" y="2162"/>
                    <a:pt x="3300" y="2162"/>
                  </a:cubicBezTo>
                  <a:cubicBezTo>
                    <a:pt x="3118" y="2162"/>
                    <a:pt x="2959" y="2248"/>
                    <a:pt x="2854" y="2381"/>
                  </a:cubicBezTo>
                  <a:lnTo>
                    <a:pt x="2254" y="2081"/>
                  </a:lnTo>
                  <a:cubicBezTo>
                    <a:pt x="2267" y="2034"/>
                    <a:pt x="2276" y="1985"/>
                    <a:pt x="2276" y="1934"/>
                  </a:cubicBezTo>
                  <a:cubicBezTo>
                    <a:pt x="2276" y="1621"/>
                    <a:pt x="2020" y="1365"/>
                    <a:pt x="1707" y="1365"/>
                  </a:cubicBezTo>
                  <a:cubicBezTo>
                    <a:pt x="1393" y="1365"/>
                    <a:pt x="1138" y="1621"/>
                    <a:pt x="1138" y="1934"/>
                  </a:cubicBezTo>
                  <a:cubicBezTo>
                    <a:pt x="1138" y="2054"/>
                    <a:pt x="1176" y="2166"/>
                    <a:pt x="1239" y="2257"/>
                  </a:cubicBezTo>
                  <a:lnTo>
                    <a:pt x="593" y="3191"/>
                  </a:lnTo>
                  <a:cubicBezTo>
                    <a:pt x="585" y="3189"/>
                    <a:pt x="578" y="3186"/>
                    <a:pt x="569" y="3186"/>
                  </a:cubicBezTo>
                  <a:lnTo>
                    <a:pt x="455" y="3186"/>
                  </a:lnTo>
                  <a:lnTo>
                    <a:pt x="455" y="2844"/>
                  </a:lnTo>
                  <a:lnTo>
                    <a:pt x="569" y="2844"/>
                  </a:lnTo>
                  <a:cubicBezTo>
                    <a:pt x="632" y="2844"/>
                    <a:pt x="683" y="2794"/>
                    <a:pt x="683" y="2731"/>
                  </a:cubicBezTo>
                  <a:cubicBezTo>
                    <a:pt x="683" y="2668"/>
                    <a:pt x="632" y="2617"/>
                    <a:pt x="569" y="2617"/>
                  </a:cubicBezTo>
                  <a:lnTo>
                    <a:pt x="455" y="2617"/>
                  </a:lnTo>
                  <a:lnTo>
                    <a:pt x="455" y="2276"/>
                  </a:lnTo>
                  <a:lnTo>
                    <a:pt x="569" y="2276"/>
                  </a:lnTo>
                  <a:cubicBezTo>
                    <a:pt x="632" y="2276"/>
                    <a:pt x="683" y="2225"/>
                    <a:pt x="683" y="2162"/>
                  </a:cubicBezTo>
                  <a:cubicBezTo>
                    <a:pt x="683" y="2099"/>
                    <a:pt x="632" y="2048"/>
                    <a:pt x="569" y="2048"/>
                  </a:cubicBezTo>
                  <a:lnTo>
                    <a:pt x="455" y="2048"/>
                  </a:lnTo>
                  <a:lnTo>
                    <a:pt x="455" y="1707"/>
                  </a:lnTo>
                  <a:lnTo>
                    <a:pt x="569" y="1707"/>
                  </a:lnTo>
                  <a:cubicBezTo>
                    <a:pt x="632" y="1707"/>
                    <a:pt x="683" y="1656"/>
                    <a:pt x="683" y="1593"/>
                  </a:cubicBezTo>
                  <a:cubicBezTo>
                    <a:pt x="683" y="1530"/>
                    <a:pt x="632" y="1479"/>
                    <a:pt x="569" y="1479"/>
                  </a:cubicBezTo>
                  <a:lnTo>
                    <a:pt x="455" y="1479"/>
                  </a:lnTo>
                  <a:lnTo>
                    <a:pt x="455" y="1138"/>
                  </a:lnTo>
                  <a:lnTo>
                    <a:pt x="569" y="1138"/>
                  </a:lnTo>
                  <a:cubicBezTo>
                    <a:pt x="632" y="1138"/>
                    <a:pt x="683" y="1087"/>
                    <a:pt x="683" y="1024"/>
                  </a:cubicBezTo>
                  <a:cubicBezTo>
                    <a:pt x="683" y="961"/>
                    <a:pt x="632" y="910"/>
                    <a:pt x="569" y="910"/>
                  </a:cubicBezTo>
                  <a:lnTo>
                    <a:pt x="455" y="910"/>
                  </a:lnTo>
                  <a:lnTo>
                    <a:pt x="455" y="569"/>
                  </a:lnTo>
                  <a:lnTo>
                    <a:pt x="569" y="569"/>
                  </a:lnTo>
                  <a:cubicBezTo>
                    <a:pt x="632" y="569"/>
                    <a:pt x="683" y="518"/>
                    <a:pt x="683" y="455"/>
                  </a:cubicBezTo>
                  <a:cubicBezTo>
                    <a:pt x="683" y="392"/>
                    <a:pt x="632" y="341"/>
                    <a:pt x="569" y="341"/>
                  </a:cubicBezTo>
                  <a:lnTo>
                    <a:pt x="455" y="341"/>
                  </a:lnTo>
                  <a:lnTo>
                    <a:pt x="455" y="114"/>
                  </a:lnTo>
                  <a:cubicBezTo>
                    <a:pt x="455" y="51"/>
                    <a:pt x="404" y="0"/>
                    <a:pt x="341" y="0"/>
                  </a:cubicBezTo>
                  <a:cubicBezTo>
                    <a:pt x="278" y="0"/>
                    <a:pt x="228" y="51"/>
                    <a:pt x="228" y="114"/>
                  </a:cubicBezTo>
                  <a:lnTo>
                    <a:pt x="228" y="341"/>
                  </a:lnTo>
                  <a:lnTo>
                    <a:pt x="114" y="341"/>
                  </a:lnTo>
                  <a:cubicBezTo>
                    <a:pt x="51" y="341"/>
                    <a:pt x="0" y="392"/>
                    <a:pt x="0" y="455"/>
                  </a:cubicBezTo>
                  <a:cubicBezTo>
                    <a:pt x="0" y="518"/>
                    <a:pt x="51" y="569"/>
                    <a:pt x="114" y="569"/>
                  </a:cubicBezTo>
                  <a:lnTo>
                    <a:pt x="228" y="569"/>
                  </a:lnTo>
                  <a:lnTo>
                    <a:pt x="228" y="910"/>
                  </a:lnTo>
                  <a:lnTo>
                    <a:pt x="114" y="910"/>
                  </a:lnTo>
                  <a:cubicBezTo>
                    <a:pt x="51" y="910"/>
                    <a:pt x="0" y="961"/>
                    <a:pt x="0" y="1024"/>
                  </a:cubicBezTo>
                  <a:cubicBezTo>
                    <a:pt x="0" y="1087"/>
                    <a:pt x="51" y="1138"/>
                    <a:pt x="114" y="1138"/>
                  </a:cubicBezTo>
                  <a:lnTo>
                    <a:pt x="228" y="1138"/>
                  </a:lnTo>
                  <a:lnTo>
                    <a:pt x="228" y="1479"/>
                  </a:lnTo>
                  <a:lnTo>
                    <a:pt x="114" y="1479"/>
                  </a:lnTo>
                  <a:cubicBezTo>
                    <a:pt x="51" y="1479"/>
                    <a:pt x="0" y="1530"/>
                    <a:pt x="0" y="1593"/>
                  </a:cubicBezTo>
                  <a:cubicBezTo>
                    <a:pt x="0" y="1656"/>
                    <a:pt x="51" y="1707"/>
                    <a:pt x="114" y="1707"/>
                  </a:cubicBezTo>
                  <a:lnTo>
                    <a:pt x="228" y="1707"/>
                  </a:lnTo>
                  <a:lnTo>
                    <a:pt x="228" y="2048"/>
                  </a:lnTo>
                  <a:lnTo>
                    <a:pt x="114" y="2048"/>
                  </a:lnTo>
                  <a:cubicBezTo>
                    <a:pt x="51" y="2048"/>
                    <a:pt x="0" y="2099"/>
                    <a:pt x="0" y="2162"/>
                  </a:cubicBezTo>
                  <a:cubicBezTo>
                    <a:pt x="0" y="2225"/>
                    <a:pt x="51" y="2276"/>
                    <a:pt x="114" y="2276"/>
                  </a:cubicBezTo>
                  <a:lnTo>
                    <a:pt x="228" y="2276"/>
                  </a:lnTo>
                  <a:lnTo>
                    <a:pt x="228" y="2617"/>
                  </a:lnTo>
                  <a:lnTo>
                    <a:pt x="114" y="2617"/>
                  </a:lnTo>
                  <a:cubicBezTo>
                    <a:pt x="51" y="2617"/>
                    <a:pt x="0" y="2668"/>
                    <a:pt x="0" y="2731"/>
                  </a:cubicBezTo>
                  <a:cubicBezTo>
                    <a:pt x="0" y="2794"/>
                    <a:pt x="51" y="2844"/>
                    <a:pt x="114" y="2844"/>
                  </a:cubicBezTo>
                  <a:lnTo>
                    <a:pt x="228" y="2844"/>
                  </a:lnTo>
                  <a:lnTo>
                    <a:pt x="228" y="3186"/>
                  </a:lnTo>
                  <a:lnTo>
                    <a:pt x="114" y="3186"/>
                  </a:lnTo>
                  <a:cubicBezTo>
                    <a:pt x="51" y="3186"/>
                    <a:pt x="0" y="3237"/>
                    <a:pt x="0" y="3300"/>
                  </a:cubicBezTo>
                  <a:cubicBezTo>
                    <a:pt x="0" y="3362"/>
                    <a:pt x="51" y="3413"/>
                    <a:pt x="114" y="3413"/>
                  </a:cubicBezTo>
                  <a:lnTo>
                    <a:pt x="228" y="3413"/>
                  </a:lnTo>
                  <a:lnTo>
                    <a:pt x="228" y="3755"/>
                  </a:lnTo>
                  <a:lnTo>
                    <a:pt x="114" y="3755"/>
                  </a:lnTo>
                  <a:cubicBezTo>
                    <a:pt x="51" y="3755"/>
                    <a:pt x="0" y="3806"/>
                    <a:pt x="0" y="3868"/>
                  </a:cubicBezTo>
                  <a:cubicBezTo>
                    <a:pt x="0" y="3931"/>
                    <a:pt x="51" y="3982"/>
                    <a:pt x="114" y="3982"/>
                  </a:cubicBezTo>
                  <a:lnTo>
                    <a:pt x="228" y="3982"/>
                  </a:lnTo>
                  <a:lnTo>
                    <a:pt x="228" y="4324"/>
                  </a:lnTo>
                  <a:lnTo>
                    <a:pt x="114" y="4324"/>
                  </a:lnTo>
                  <a:cubicBezTo>
                    <a:pt x="51" y="4324"/>
                    <a:pt x="0" y="4374"/>
                    <a:pt x="0" y="4437"/>
                  </a:cubicBezTo>
                  <a:cubicBezTo>
                    <a:pt x="0" y="4500"/>
                    <a:pt x="51" y="4551"/>
                    <a:pt x="114" y="4551"/>
                  </a:cubicBezTo>
                  <a:lnTo>
                    <a:pt x="228" y="4551"/>
                  </a:lnTo>
                  <a:lnTo>
                    <a:pt x="228" y="4892"/>
                  </a:lnTo>
                  <a:lnTo>
                    <a:pt x="114" y="4892"/>
                  </a:lnTo>
                  <a:cubicBezTo>
                    <a:pt x="51" y="4892"/>
                    <a:pt x="0" y="4943"/>
                    <a:pt x="0" y="5006"/>
                  </a:cubicBezTo>
                  <a:cubicBezTo>
                    <a:pt x="0" y="5069"/>
                    <a:pt x="51" y="5120"/>
                    <a:pt x="114" y="5120"/>
                  </a:cubicBezTo>
                  <a:lnTo>
                    <a:pt x="228" y="5120"/>
                  </a:lnTo>
                  <a:lnTo>
                    <a:pt x="228" y="5461"/>
                  </a:lnTo>
                  <a:lnTo>
                    <a:pt x="114" y="5461"/>
                  </a:lnTo>
                  <a:cubicBezTo>
                    <a:pt x="51" y="5461"/>
                    <a:pt x="0" y="5512"/>
                    <a:pt x="0" y="5575"/>
                  </a:cubicBezTo>
                  <a:cubicBezTo>
                    <a:pt x="0" y="5638"/>
                    <a:pt x="51" y="5689"/>
                    <a:pt x="114" y="5689"/>
                  </a:cubicBezTo>
                  <a:lnTo>
                    <a:pt x="228" y="5689"/>
                  </a:lnTo>
                  <a:lnTo>
                    <a:pt x="228" y="6030"/>
                  </a:lnTo>
                  <a:lnTo>
                    <a:pt x="114" y="6030"/>
                  </a:lnTo>
                  <a:cubicBezTo>
                    <a:pt x="51" y="6030"/>
                    <a:pt x="0" y="6081"/>
                    <a:pt x="0" y="6144"/>
                  </a:cubicBezTo>
                  <a:cubicBezTo>
                    <a:pt x="0" y="6207"/>
                    <a:pt x="51" y="6258"/>
                    <a:pt x="114" y="6258"/>
                  </a:cubicBezTo>
                  <a:lnTo>
                    <a:pt x="228" y="6258"/>
                  </a:lnTo>
                  <a:lnTo>
                    <a:pt x="228" y="6485"/>
                  </a:lnTo>
                  <a:cubicBezTo>
                    <a:pt x="228" y="6548"/>
                    <a:pt x="278" y="6599"/>
                    <a:pt x="341" y="6599"/>
                  </a:cubicBezTo>
                  <a:lnTo>
                    <a:pt x="683" y="6599"/>
                  </a:lnTo>
                  <a:lnTo>
                    <a:pt x="683" y="6713"/>
                  </a:lnTo>
                  <a:cubicBezTo>
                    <a:pt x="683" y="6776"/>
                    <a:pt x="734" y="6827"/>
                    <a:pt x="796" y="6827"/>
                  </a:cubicBezTo>
                  <a:cubicBezTo>
                    <a:pt x="859" y="6827"/>
                    <a:pt x="910" y="6776"/>
                    <a:pt x="910" y="6713"/>
                  </a:cubicBezTo>
                  <a:lnTo>
                    <a:pt x="910" y="6599"/>
                  </a:lnTo>
                  <a:lnTo>
                    <a:pt x="1252" y="6599"/>
                  </a:lnTo>
                  <a:lnTo>
                    <a:pt x="1252" y="6713"/>
                  </a:lnTo>
                  <a:cubicBezTo>
                    <a:pt x="1252" y="6776"/>
                    <a:pt x="1302" y="6827"/>
                    <a:pt x="1365" y="6827"/>
                  </a:cubicBezTo>
                  <a:cubicBezTo>
                    <a:pt x="1428" y="6827"/>
                    <a:pt x="1479" y="6776"/>
                    <a:pt x="1479" y="6713"/>
                  </a:cubicBezTo>
                  <a:lnTo>
                    <a:pt x="1479" y="6599"/>
                  </a:lnTo>
                  <a:lnTo>
                    <a:pt x="1820" y="6599"/>
                  </a:lnTo>
                  <a:lnTo>
                    <a:pt x="1820" y="6713"/>
                  </a:lnTo>
                  <a:cubicBezTo>
                    <a:pt x="1820" y="6776"/>
                    <a:pt x="1871" y="6827"/>
                    <a:pt x="1934" y="6827"/>
                  </a:cubicBezTo>
                  <a:cubicBezTo>
                    <a:pt x="1997" y="6827"/>
                    <a:pt x="2048" y="6776"/>
                    <a:pt x="2048" y="6713"/>
                  </a:cubicBezTo>
                  <a:lnTo>
                    <a:pt x="2048" y="6599"/>
                  </a:lnTo>
                  <a:lnTo>
                    <a:pt x="2389" y="6599"/>
                  </a:lnTo>
                  <a:lnTo>
                    <a:pt x="2389" y="6713"/>
                  </a:lnTo>
                  <a:cubicBezTo>
                    <a:pt x="2389" y="6776"/>
                    <a:pt x="2440" y="6827"/>
                    <a:pt x="2503" y="6827"/>
                  </a:cubicBezTo>
                  <a:cubicBezTo>
                    <a:pt x="2566" y="6827"/>
                    <a:pt x="2617" y="6776"/>
                    <a:pt x="2617" y="6713"/>
                  </a:cubicBezTo>
                  <a:lnTo>
                    <a:pt x="2617" y="6599"/>
                  </a:lnTo>
                  <a:lnTo>
                    <a:pt x="2958" y="6599"/>
                  </a:lnTo>
                  <a:lnTo>
                    <a:pt x="2958" y="6713"/>
                  </a:lnTo>
                  <a:cubicBezTo>
                    <a:pt x="2958" y="6776"/>
                    <a:pt x="3009" y="6827"/>
                    <a:pt x="3072" y="6827"/>
                  </a:cubicBezTo>
                  <a:cubicBezTo>
                    <a:pt x="3135" y="6827"/>
                    <a:pt x="3186" y="6776"/>
                    <a:pt x="3186" y="6713"/>
                  </a:cubicBezTo>
                  <a:lnTo>
                    <a:pt x="3186" y="6599"/>
                  </a:lnTo>
                  <a:lnTo>
                    <a:pt x="3527" y="6599"/>
                  </a:lnTo>
                  <a:lnTo>
                    <a:pt x="3527" y="6713"/>
                  </a:lnTo>
                  <a:cubicBezTo>
                    <a:pt x="3527" y="6776"/>
                    <a:pt x="3578" y="6827"/>
                    <a:pt x="3641" y="6827"/>
                  </a:cubicBezTo>
                  <a:cubicBezTo>
                    <a:pt x="3704" y="6827"/>
                    <a:pt x="3755" y="6776"/>
                    <a:pt x="3755" y="6713"/>
                  </a:cubicBezTo>
                  <a:lnTo>
                    <a:pt x="3755" y="6599"/>
                  </a:lnTo>
                  <a:lnTo>
                    <a:pt x="4096" y="6599"/>
                  </a:lnTo>
                  <a:lnTo>
                    <a:pt x="4096" y="6713"/>
                  </a:lnTo>
                  <a:cubicBezTo>
                    <a:pt x="4096" y="6776"/>
                    <a:pt x="4147" y="6827"/>
                    <a:pt x="4210" y="6827"/>
                  </a:cubicBezTo>
                  <a:cubicBezTo>
                    <a:pt x="4273" y="6827"/>
                    <a:pt x="4323" y="6776"/>
                    <a:pt x="4323" y="6713"/>
                  </a:cubicBezTo>
                  <a:lnTo>
                    <a:pt x="4323" y="6599"/>
                  </a:lnTo>
                  <a:lnTo>
                    <a:pt x="4665" y="6599"/>
                  </a:lnTo>
                  <a:lnTo>
                    <a:pt x="4665" y="6713"/>
                  </a:lnTo>
                  <a:cubicBezTo>
                    <a:pt x="4665" y="6776"/>
                    <a:pt x="4716" y="6827"/>
                    <a:pt x="4779" y="6827"/>
                  </a:cubicBezTo>
                  <a:cubicBezTo>
                    <a:pt x="4842" y="6827"/>
                    <a:pt x="4892" y="6776"/>
                    <a:pt x="4892" y="6713"/>
                  </a:cubicBezTo>
                  <a:lnTo>
                    <a:pt x="4892" y="6599"/>
                  </a:lnTo>
                  <a:lnTo>
                    <a:pt x="5234" y="6599"/>
                  </a:lnTo>
                  <a:lnTo>
                    <a:pt x="5234" y="6713"/>
                  </a:lnTo>
                  <a:cubicBezTo>
                    <a:pt x="5234" y="6776"/>
                    <a:pt x="5285" y="6827"/>
                    <a:pt x="5347" y="6827"/>
                  </a:cubicBezTo>
                  <a:cubicBezTo>
                    <a:pt x="5410" y="6827"/>
                    <a:pt x="5461" y="6776"/>
                    <a:pt x="5461" y="6713"/>
                  </a:cubicBezTo>
                  <a:lnTo>
                    <a:pt x="5461" y="6599"/>
                  </a:lnTo>
                  <a:lnTo>
                    <a:pt x="5803" y="6599"/>
                  </a:lnTo>
                  <a:lnTo>
                    <a:pt x="5803" y="6713"/>
                  </a:lnTo>
                  <a:cubicBezTo>
                    <a:pt x="5803" y="6776"/>
                    <a:pt x="5853" y="6827"/>
                    <a:pt x="5916" y="6827"/>
                  </a:cubicBezTo>
                  <a:cubicBezTo>
                    <a:pt x="5979" y="6827"/>
                    <a:pt x="6030" y="6776"/>
                    <a:pt x="6030" y="6713"/>
                  </a:cubicBezTo>
                  <a:lnTo>
                    <a:pt x="6030" y="6599"/>
                  </a:lnTo>
                  <a:lnTo>
                    <a:pt x="6371" y="6599"/>
                  </a:lnTo>
                  <a:lnTo>
                    <a:pt x="6371" y="6713"/>
                  </a:lnTo>
                  <a:cubicBezTo>
                    <a:pt x="6371" y="6776"/>
                    <a:pt x="6422" y="6827"/>
                    <a:pt x="6485" y="6827"/>
                  </a:cubicBezTo>
                  <a:cubicBezTo>
                    <a:pt x="6548" y="6827"/>
                    <a:pt x="6599" y="6776"/>
                    <a:pt x="6599" y="6713"/>
                  </a:cubicBezTo>
                  <a:lnTo>
                    <a:pt x="6599" y="6599"/>
                  </a:lnTo>
                  <a:lnTo>
                    <a:pt x="6713" y="6599"/>
                  </a:lnTo>
                  <a:cubicBezTo>
                    <a:pt x="6776" y="6599"/>
                    <a:pt x="6827" y="6548"/>
                    <a:pt x="6827" y="6485"/>
                  </a:cubicBezTo>
                  <a:cubicBezTo>
                    <a:pt x="6827" y="6422"/>
                    <a:pt x="6776" y="6372"/>
                    <a:pt x="6713" y="6372"/>
                  </a:cubicBezTo>
                  <a:lnTo>
                    <a:pt x="6599" y="6372"/>
                  </a:lnTo>
                  <a:lnTo>
                    <a:pt x="6599" y="6258"/>
                  </a:lnTo>
                  <a:cubicBezTo>
                    <a:pt x="6599" y="6195"/>
                    <a:pt x="6548" y="6144"/>
                    <a:pt x="6485" y="6144"/>
                  </a:cubicBezTo>
                  <a:cubicBezTo>
                    <a:pt x="6422" y="6144"/>
                    <a:pt x="6371" y="6195"/>
                    <a:pt x="6371" y="6258"/>
                  </a:cubicBezTo>
                  <a:lnTo>
                    <a:pt x="6371" y="6372"/>
                  </a:lnTo>
                  <a:lnTo>
                    <a:pt x="6030" y="6372"/>
                  </a:lnTo>
                  <a:lnTo>
                    <a:pt x="6030" y="6258"/>
                  </a:lnTo>
                  <a:cubicBezTo>
                    <a:pt x="6030" y="6195"/>
                    <a:pt x="5979" y="6144"/>
                    <a:pt x="5916" y="6144"/>
                  </a:cubicBezTo>
                  <a:cubicBezTo>
                    <a:pt x="5853" y="6144"/>
                    <a:pt x="5803" y="6195"/>
                    <a:pt x="5803" y="6258"/>
                  </a:cubicBezTo>
                  <a:lnTo>
                    <a:pt x="5803" y="6372"/>
                  </a:lnTo>
                  <a:lnTo>
                    <a:pt x="5461" y="6372"/>
                  </a:lnTo>
                  <a:lnTo>
                    <a:pt x="5461" y="6258"/>
                  </a:lnTo>
                  <a:cubicBezTo>
                    <a:pt x="5461" y="6195"/>
                    <a:pt x="5410" y="6144"/>
                    <a:pt x="5347" y="6144"/>
                  </a:cubicBezTo>
                  <a:cubicBezTo>
                    <a:pt x="5285" y="6144"/>
                    <a:pt x="5234" y="6195"/>
                    <a:pt x="5234" y="6258"/>
                  </a:cubicBezTo>
                  <a:lnTo>
                    <a:pt x="5234" y="6372"/>
                  </a:lnTo>
                  <a:lnTo>
                    <a:pt x="4892" y="6372"/>
                  </a:lnTo>
                  <a:lnTo>
                    <a:pt x="4892" y="6258"/>
                  </a:lnTo>
                  <a:cubicBezTo>
                    <a:pt x="4892" y="6195"/>
                    <a:pt x="4842" y="6144"/>
                    <a:pt x="4779" y="6144"/>
                  </a:cubicBezTo>
                  <a:cubicBezTo>
                    <a:pt x="4716" y="6144"/>
                    <a:pt x="4665" y="6195"/>
                    <a:pt x="4665" y="6258"/>
                  </a:cubicBezTo>
                  <a:lnTo>
                    <a:pt x="4665" y="6372"/>
                  </a:lnTo>
                  <a:lnTo>
                    <a:pt x="4323" y="6372"/>
                  </a:lnTo>
                  <a:lnTo>
                    <a:pt x="4323" y="6258"/>
                  </a:lnTo>
                  <a:cubicBezTo>
                    <a:pt x="4323" y="6195"/>
                    <a:pt x="4273" y="6144"/>
                    <a:pt x="4210" y="6144"/>
                  </a:cubicBezTo>
                  <a:cubicBezTo>
                    <a:pt x="4147" y="6144"/>
                    <a:pt x="4096" y="6195"/>
                    <a:pt x="4096" y="6258"/>
                  </a:cubicBezTo>
                  <a:lnTo>
                    <a:pt x="4096" y="6372"/>
                  </a:lnTo>
                  <a:lnTo>
                    <a:pt x="3755" y="6372"/>
                  </a:lnTo>
                  <a:lnTo>
                    <a:pt x="3755" y="6258"/>
                  </a:lnTo>
                  <a:cubicBezTo>
                    <a:pt x="3755" y="6195"/>
                    <a:pt x="3704" y="6144"/>
                    <a:pt x="3641" y="6144"/>
                  </a:cubicBezTo>
                  <a:cubicBezTo>
                    <a:pt x="3578" y="6144"/>
                    <a:pt x="3527" y="6195"/>
                    <a:pt x="3527" y="6258"/>
                  </a:cubicBezTo>
                  <a:lnTo>
                    <a:pt x="3527" y="6372"/>
                  </a:lnTo>
                  <a:lnTo>
                    <a:pt x="3186" y="6372"/>
                  </a:lnTo>
                  <a:lnTo>
                    <a:pt x="3186" y="6258"/>
                  </a:lnTo>
                  <a:cubicBezTo>
                    <a:pt x="3186" y="6195"/>
                    <a:pt x="3135" y="6144"/>
                    <a:pt x="3072" y="6144"/>
                  </a:cubicBezTo>
                  <a:cubicBezTo>
                    <a:pt x="3009" y="6144"/>
                    <a:pt x="2958" y="6195"/>
                    <a:pt x="2958" y="6258"/>
                  </a:cubicBezTo>
                  <a:lnTo>
                    <a:pt x="2958" y="6372"/>
                  </a:lnTo>
                  <a:lnTo>
                    <a:pt x="2617" y="6372"/>
                  </a:lnTo>
                  <a:lnTo>
                    <a:pt x="2617" y="6258"/>
                  </a:lnTo>
                  <a:cubicBezTo>
                    <a:pt x="2617" y="6195"/>
                    <a:pt x="2566" y="6144"/>
                    <a:pt x="2503" y="6144"/>
                  </a:cubicBezTo>
                  <a:cubicBezTo>
                    <a:pt x="2440" y="6144"/>
                    <a:pt x="2389" y="6195"/>
                    <a:pt x="2389" y="6258"/>
                  </a:cubicBezTo>
                  <a:lnTo>
                    <a:pt x="2389" y="6372"/>
                  </a:lnTo>
                  <a:lnTo>
                    <a:pt x="2048" y="6372"/>
                  </a:lnTo>
                  <a:lnTo>
                    <a:pt x="2048" y="6258"/>
                  </a:lnTo>
                  <a:cubicBezTo>
                    <a:pt x="2048" y="6195"/>
                    <a:pt x="1997" y="6144"/>
                    <a:pt x="1934" y="6144"/>
                  </a:cubicBezTo>
                  <a:cubicBezTo>
                    <a:pt x="1871" y="6144"/>
                    <a:pt x="1820" y="6195"/>
                    <a:pt x="1820" y="6258"/>
                  </a:cubicBezTo>
                  <a:lnTo>
                    <a:pt x="1820" y="6372"/>
                  </a:lnTo>
                  <a:lnTo>
                    <a:pt x="1479" y="6372"/>
                  </a:lnTo>
                  <a:lnTo>
                    <a:pt x="1479" y="6258"/>
                  </a:lnTo>
                  <a:cubicBezTo>
                    <a:pt x="1479" y="6195"/>
                    <a:pt x="1428" y="6144"/>
                    <a:pt x="1365" y="6144"/>
                  </a:cubicBezTo>
                  <a:cubicBezTo>
                    <a:pt x="1302" y="6144"/>
                    <a:pt x="1252" y="6195"/>
                    <a:pt x="1252" y="6258"/>
                  </a:cubicBezTo>
                  <a:lnTo>
                    <a:pt x="1252" y="6372"/>
                  </a:lnTo>
                  <a:lnTo>
                    <a:pt x="910" y="6372"/>
                  </a:lnTo>
                  <a:lnTo>
                    <a:pt x="910" y="6258"/>
                  </a:lnTo>
                  <a:cubicBezTo>
                    <a:pt x="910" y="6195"/>
                    <a:pt x="859" y="6144"/>
                    <a:pt x="796" y="6144"/>
                  </a:cubicBezTo>
                  <a:cubicBezTo>
                    <a:pt x="734" y="6144"/>
                    <a:pt x="683" y="6195"/>
                    <a:pt x="683" y="6258"/>
                  </a:cubicBezTo>
                  <a:lnTo>
                    <a:pt x="683" y="6372"/>
                  </a:lnTo>
                  <a:lnTo>
                    <a:pt x="455" y="6372"/>
                  </a:lnTo>
                  <a:lnTo>
                    <a:pt x="455" y="5234"/>
                  </a:lnTo>
                  <a:lnTo>
                    <a:pt x="1263" y="52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41" name="文本框 40">
            <a:extLst>
              <a:ext uri="{FF2B5EF4-FFF2-40B4-BE49-F238E27FC236}">
                <a16:creationId xmlns:a16="http://schemas.microsoft.com/office/drawing/2014/main" id="{BD1163CB-CAFD-4A4E-A404-1C4E133879E7}"/>
              </a:ext>
            </a:extLst>
          </p:cNvPr>
          <p:cNvSpPr txBox="1"/>
          <p:nvPr/>
        </p:nvSpPr>
        <p:spPr>
          <a:xfrm>
            <a:off x="6711242" y="5194145"/>
            <a:ext cx="1487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3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DBCC7338-6B1C-4D13-AF4D-660E8A81523C}"/>
              </a:ext>
            </a:extLst>
          </p:cNvPr>
          <p:cNvSpPr txBox="1"/>
          <p:nvPr/>
        </p:nvSpPr>
        <p:spPr>
          <a:xfrm>
            <a:off x="6688890" y="5643477"/>
            <a:ext cx="1621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市场分析</a:t>
            </a: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AF9A9A3A-C9A9-45D8-B7CC-BFC375B3DB4F}"/>
              </a:ext>
            </a:extLst>
          </p:cNvPr>
          <p:cNvGrpSpPr/>
          <p:nvPr/>
        </p:nvGrpSpPr>
        <p:grpSpPr>
          <a:xfrm>
            <a:off x="9807752" y="4014518"/>
            <a:ext cx="908035" cy="908035"/>
            <a:chOff x="8058460" y="5143897"/>
            <a:chExt cx="1291814" cy="1291814"/>
          </a:xfrm>
        </p:grpSpPr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0BCECFB1-0AC3-4A63-ADB3-5B2516709A6B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229A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30" name="空心弧 29">
              <a:extLst>
                <a:ext uri="{FF2B5EF4-FFF2-40B4-BE49-F238E27FC236}">
                  <a16:creationId xmlns:a16="http://schemas.microsoft.com/office/drawing/2014/main" id="{C13EFE58-4F35-4C8B-A9A4-A920D72F75E3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229AB4"/>
                </a:gs>
                <a:gs pos="94000">
                  <a:srgbClr val="229AB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34" name="presentation_323252">
              <a:extLst>
                <a:ext uri="{FF2B5EF4-FFF2-40B4-BE49-F238E27FC236}">
                  <a16:creationId xmlns:a16="http://schemas.microsoft.com/office/drawing/2014/main" id="{84B1D4D5-BCB5-432B-BFD4-BFBCE3A3DA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43" name="文本框 42">
            <a:extLst>
              <a:ext uri="{FF2B5EF4-FFF2-40B4-BE49-F238E27FC236}">
                <a16:creationId xmlns:a16="http://schemas.microsoft.com/office/drawing/2014/main" id="{E4DF3F51-9670-40CF-BE9B-77A12BC5FA53}"/>
              </a:ext>
            </a:extLst>
          </p:cNvPr>
          <p:cNvSpPr txBox="1"/>
          <p:nvPr/>
        </p:nvSpPr>
        <p:spPr>
          <a:xfrm>
            <a:off x="9518057" y="5194145"/>
            <a:ext cx="1487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4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A52DB953-1635-4BFF-83D2-77B80E089B1D}"/>
              </a:ext>
            </a:extLst>
          </p:cNvPr>
          <p:cNvSpPr txBox="1"/>
          <p:nvPr/>
        </p:nvSpPr>
        <p:spPr>
          <a:xfrm>
            <a:off x="9518057" y="5643477"/>
            <a:ext cx="1487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世锦赛初步方案</a:t>
            </a: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E45687A4-442E-423A-9C0F-B732416D4FB3}"/>
              </a:ext>
            </a:extLst>
          </p:cNvPr>
          <p:cNvGrpSpPr/>
          <p:nvPr/>
        </p:nvGrpSpPr>
        <p:grpSpPr>
          <a:xfrm>
            <a:off x="180473" y="120316"/>
            <a:ext cx="11869666" cy="2357268"/>
            <a:chOff x="180473" y="120316"/>
            <a:chExt cx="11869666" cy="2357268"/>
          </a:xfrm>
        </p:grpSpPr>
        <p:pic>
          <p:nvPicPr>
            <p:cNvPr id="51" name="图片 50">
              <a:extLst>
                <a:ext uri="{FF2B5EF4-FFF2-40B4-BE49-F238E27FC236}">
                  <a16:creationId xmlns:a16="http://schemas.microsoft.com/office/drawing/2014/main" id="{EA11D8F6-DE3A-47D9-86CA-D1FAEE88D7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473" y="120316"/>
              <a:ext cx="4490019" cy="2330728"/>
            </a:xfrm>
            <a:prstGeom prst="rect">
              <a:avLst/>
            </a:prstGeom>
          </p:spPr>
        </p:pic>
        <p:pic>
          <p:nvPicPr>
            <p:cNvPr id="52" name="图片 51">
              <a:extLst>
                <a:ext uri="{FF2B5EF4-FFF2-40B4-BE49-F238E27FC236}">
                  <a16:creationId xmlns:a16="http://schemas.microsoft.com/office/drawing/2014/main" id="{3D3B4501-9918-420C-B8FB-12E232184B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1422" y="120316"/>
              <a:ext cx="3496091" cy="2330727"/>
            </a:xfrm>
            <a:prstGeom prst="rect">
              <a:avLst/>
            </a:prstGeom>
          </p:spPr>
        </p:pic>
        <p:pic>
          <p:nvPicPr>
            <p:cNvPr id="53" name="图片 52">
              <a:extLst>
                <a:ext uri="{FF2B5EF4-FFF2-40B4-BE49-F238E27FC236}">
                  <a16:creationId xmlns:a16="http://schemas.microsoft.com/office/drawing/2014/main" id="{348725B9-DBDC-403A-8DD3-F5CCE0DC1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8444" y="120316"/>
              <a:ext cx="3741695" cy="2357268"/>
            </a:xfrm>
            <a:prstGeom prst="rect">
              <a:avLst/>
            </a:prstGeom>
          </p:spPr>
        </p:pic>
      </p:grpSp>
      <p:sp>
        <p:nvSpPr>
          <p:cNvPr id="12" name="矩形 11">
            <a:extLst>
              <a:ext uri="{FF2B5EF4-FFF2-40B4-BE49-F238E27FC236}">
                <a16:creationId xmlns:a16="http://schemas.microsoft.com/office/drawing/2014/main" id="{F027BB0E-7967-43DA-9644-B9F41C0ECBE2}"/>
              </a:ext>
            </a:extLst>
          </p:cNvPr>
          <p:cNvSpPr/>
          <p:nvPr/>
        </p:nvSpPr>
        <p:spPr>
          <a:xfrm>
            <a:off x="0" y="0"/>
            <a:ext cx="12192000" cy="2627697"/>
          </a:xfrm>
          <a:prstGeom prst="rect">
            <a:avLst/>
          </a:prstGeom>
          <a:gradFill flip="none" rotWithShape="1">
            <a:gsLst>
              <a:gs pos="21000">
                <a:srgbClr val="162B7A"/>
              </a:gs>
              <a:gs pos="100000">
                <a:srgbClr val="021C69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8669C7CB-A739-4E61-A900-A180AA4FD8FE}"/>
              </a:ext>
            </a:extLst>
          </p:cNvPr>
          <p:cNvSpPr txBox="1"/>
          <p:nvPr/>
        </p:nvSpPr>
        <p:spPr>
          <a:xfrm>
            <a:off x="4376463" y="1398632"/>
            <a:ext cx="3401568" cy="119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5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目录</a:t>
            </a:r>
            <a:endParaRPr lang="en-US" altLang="zh-CN" sz="5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9F720FA-393C-409F-8E89-BFB0FD74988C}"/>
              </a:ext>
            </a:extLst>
          </p:cNvPr>
          <p:cNvSpPr/>
          <p:nvPr/>
        </p:nvSpPr>
        <p:spPr>
          <a:xfrm>
            <a:off x="5312326" y="2571359"/>
            <a:ext cx="1529842" cy="5810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2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contents</a:t>
            </a:r>
            <a:endParaRPr lang="zh-CN" altLang="en-US" sz="2400" b="1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21" name="半闭框 20">
            <a:extLst>
              <a:ext uri="{FF2B5EF4-FFF2-40B4-BE49-F238E27FC236}">
                <a16:creationId xmlns:a16="http://schemas.microsoft.com/office/drawing/2014/main" id="{1772CA7C-4E17-4A2B-9732-4AC42B740195}"/>
              </a:ext>
            </a:extLst>
          </p:cNvPr>
          <p:cNvSpPr/>
          <p:nvPr/>
        </p:nvSpPr>
        <p:spPr>
          <a:xfrm>
            <a:off x="4461491" y="1250653"/>
            <a:ext cx="1336967" cy="1256239"/>
          </a:xfrm>
          <a:prstGeom prst="halfFrame">
            <a:avLst>
              <a:gd name="adj1" fmla="val 8815"/>
              <a:gd name="adj2" fmla="val 88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54" name="半闭框 53">
            <a:extLst>
              <a:ext uri="{FF2B5EF4-FFF2-40B4-BE49-F238E27FC236}">
                <a16:creationId xmlns:a16="http://schemas.microsoft.com/office/drawing/2014/main" id="{1FB66691-C8E4-42B3-82BB-2B9630E4B732}"/>
              </a:ext>
            </a:extLst>
          </p:cNvPr>
          <p:cNvSpPr/>
          <p:nvPr/>
        </p:nvSpPr>
        <p:spPr>
          <a:xfrm flipH="1" flipV="1">
            <a:off x="6511994" y="2199338"/>
            <a:ext cx="1336967" cy="1256239"/>
          </a:xfrm>
          <a:prstGeom prst="halfFrame">
            <a:avLst>
              <a:gd name="adj1" fmla="val 8815"/>
              <a:gd name="adj2" fmla="val 881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40DF57C9-B6E9-48BD-8E59-37AA1CBAD053}"/>
              </a:ext>
            </a:extLst>
          </p:cNvPr>
          <p:cNvCxnSpPr>
            <a:cxnSpLocks/>
          </p:cNvCxnSpPr>
          <p:nvPr/>
        </p:nvCxnSpPr>
        <p:spPr>
          <a:xfrm>
            <a:off x="3185963" y="3760493"/>
            <a:ext cx="0" cy="243519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>
            <a:extLst>
              <a:ext uri="{FF2B5EF4-FFF2-40B4-BE49-F238E27FC236}">
                <a16:creationId xmlns:a16="http://schemas.microsoft.com/office/drawing/2014/main" id="{BF396412-270C-463D-A27E-31CC735FDC66}"/>
              </a:ext>
            </a:extLst>
          </p:cNvPr>
          <p:cNvCxnSpPr>
            <a:cxnSpLocks/>
          </p:cNvCxnSpPr>
          <p:nvPr/>
        </p:nvCxnSpPr>
        <p:spPr>
          <a:xfrm>
            <a:off x="6089583" y="3760493"/>
            <a:ext cx="0" cy="243519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>
            <a:extLst>
              <a:ext uri="{FF2B5EF4-FFF2-40B4-BE49-F238E27FC236}">
                <a16:creationId xmlns:a16="http://schemas.microsoft.com/office/drawing/2014/main" id="{009EB265-D9E2-4C1D-8C21-206963DAD50D}"/>
              </a:ext>
            </a:extLst>
          </p:cNvPr>
          <p:cNvCxnSpPr>
            <a:cxnSpLocks/>
          </p:cNvCxnSpPr>
          <p:nvPr/>
        </p:nvCxnSpPr>
        <p:spPr>
          <a:xfrm>
            <a:off x="8993204" y="3760493"/>
            <a:ext cx="0" cy="243519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8347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75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25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75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250"/>
                            </p:stCondLst>
                            <p:childTnLst>
                              <p:par>
                                <p:cTn id="5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50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000"/>
                            </p:stCondLst>
                            <p:childTnLst>
                              <p:par>
                                <p:cTn id="6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2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250"/>
                            </p:stCondLst>
                            <p:childTnLst>
                              <p:par>
                                <p:cTn id="7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750"/>
                            </p:stCondLst>
                            <p:childTnLst>
                              <p:par>
                                <p:cTn id="7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250"/>
                            </p:stCondLst>
                            <p:childTnLst>
                              <p:par>
                                <p:cTn id="8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19" grpId="0"/>
      <p:bldP spid="21" grpId="0" animBg="1"/>
      <p:bldP spid="5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组合 20">
            <a:extLst>
              <a:ext uri="{FF2B5EF4-FFF2-40B4-BE49-F238E27FC236}">
                <a16:creationId xmlns:a16="http://schemas.microsoft.com/office/drawing/2014/main" id="{6F7873AF-9A8B-4B27-87EE-C115F7C3EA33}"/>
              </a:ext>
            </a:extLst>
          </p:cNvPr>
          <p:cNvGrpSpPr/>
          <p:nvPr/>
        </p:nvGrpSpPr>
        <p:grpSpPr>
          <a:xfrm>
            <a:off x="180473" y="120316"/>
            <a:ext cx="11869666" cy="2357268"/>
            <a:chOff x="180473" y="120316"/>
            <a:chExt cx="11869666" cy="2357268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8EBE3A87-0083-4EC6-9119-1D5B3EE0A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473" y="120316"/>
              <a:ext cx="4490019" cy="2330728"/>
            </a:xfrm>
            <a:prstGeom prst="rect">
              <a:avLst/>
            </a:prstGeom>
          </p:spPr>
        </p:pic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39DC9278-9D49-489F-AE4F-4CFA7C1E8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1422" y="120316"/>
              <a:ext cx="3496091" cy="2330727"/>
            </a:xfrm>
            <a:prstGeom prst="rect">
              <a:avLst/>
            </a:prstGeom>
          </p:spPr>
        </p:pic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7D8EFB16-918F-4D41-A0AE-68E690291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8444" y="120316"/>
              <a:ext cx="3741695" cy="2357268"/>
            </a:xfrm>
            <a:prstGeom prst="rect">
              <a:avLst/>
            </a:prstGeom>
          </p:spPr>
        </p:pic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BBE926A9-F2CE-41E4-AB7F-496D36A66BD5}"/>
              </a:ext>
            </a:extLst>
          </p:cNvPr>
          <p:cNvSpPr txBox="1"/>
          <p:nvPr/>
        </p:nvSpPr>
        <p:spPr>
          <a:xfrm>
            <a:off x="6312820" y="4188674"/>
            <a:ext cx="2302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1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30E41C2-0DE8-4152-AA33-D738C5D30FFA}"/>
              </a:ext>
            </a:extLst>
          </p:cNvPr>
          <p:cNvSpPr txBox="1"/>
          <p:nvPr/>
        </p:nvSpPr>
        <p:spPr>
          <a:xfrm>
            <a:off x="6312820" y="5013190"/>
            <a:ext cx="162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公司简介</a:t>
            </a: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2EDEB705-1C1E-43BB-8BA3-788D047BF8B9}"/>
              </a:ext>
            </a:extLst>
          </p:cNvPr>
          <p:cNvGrpSpPr/>
          <p:nvPr/>
        </p:nvGrpSpPr>
        <p:grpSpPr>
          <a:xfrm>
            <a:off x="3697035" y="3861548"/>
            <a:ext cx="1946913" cy="1946913"/>
            <a:chOff x="8016509" y="1243419"/>
            <a:chExt cx="1291814" cy="1291814"/>
          </a:xfrm>
        </p:grpSpPr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19FC6F6F-905F-4C91-8D83-FAE91EB00789}"/>
                </a:ext>
              </a:extLst>
            </p:cNvPr>
            <p:cNvGrpSpPr/>
            <p:nvPr/>
          </p:nvGrpSpPr>
          <p:grpSpPr>
            <a:xfrm>
              <a:off x="8156448" y="1376172"/>
              <a:ext cx="1011936" cy="1011936"/>
              <a:chOff x="9424416" y="1334859"/>
              <a:chExt cx="1316736" cy="1316736"/>
            </a:xfrm>
          </p:grpSpPr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1C1EF21D-8E99-4F72-9A9A-8955C4C6562B}"/>
                  </a:ext>
                </a:extLst>
              </p:cNvPr>
              <p:cNvSpPr/>
              <p:nvPr/>
            </p:nvSpPr>
            <p:spPr>
              <a:xfrm>
                <a:off x="9424416" y="1334859"/>
                <a:ext cx="1316736" cy="1316736"/>
              </a:xfrm>
              <a:prstGeom prst="ellipse">
                <a:avLst/>
              </a:prstGeom>
              <a:solidFill>
                <a:srgbClr val="1D53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  <p:sp>
            <p:nvSpPr>
              <p:cNvPr id="19" name="triptych-brochure_30017">
                <a:extLst>
                  <a:ext uri="{FF2B5EF4-FFF2-40B4-BE49-F238E27FC236}">
                    <a16:creationId xmlns:a16="http://schemas.microsoft.com/office/drawing/2014/main" id="{2388795D-57A8-4BE4-B6A2-7AAD5076B10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779693" y="1693514"/>
                <a:ext cx="628013" cy="626915"/>
              </a:xfrm>
              <a:custGeom>
                <a:avLst/>
                <a:gdLst>
                  <a:gd name="connsiteX0" fmla="*/ 242039 w 605098"/>
                  <a:gd name="connsiteY0" fmla="*/ 412737 h 604040"/>
                  <a:gd name="connsiteX1" fmla="*/ 362988 w 605098"/>
                  <a:gd name="connsiteY1" fmla="*/ 412737 h 604040"/>
                  <a:gd name="connsiteX2" fmla="*/ 362988 w 605098"/>
                  <a:gd name="connsiteY2" fmla="*/ 523595 h 604040"/>
                  <a:gd name="connsiteX3" fmla="*/ 242039 w 605098"/>
                  <a:gd name="connsiteY3" fmla="*/ 523595 h 604040"/>
                  <a:gd name="connsiteX4" fmla="*/ 560997 w 605098"/>
                  <a:gd name="connsiteY4" fmla="*/ 357132 h 604040"/>
                  <a:gd name="connsiteX5" fmla="*/ 568051 w 605098"/>
                  <a:gd name="connsiteY5" fmla="*/ 364480 h 604040"/>
                  <a:gd name="connsiteX6" fmla="*/ 559197 w 605098"/>
                  <a:gd name="connsiteY6" fmla="*/ 377526 h 604040"/>
                  <a:gd name="connsiteX7" fmla="*/ 475303 w 605098"/>
                  <a:gd name="connsiteY7" fmla="*/ 417263 h 604040"/>
                  <a:gd name="connsiteX8" fmla="*/ 470951 w 605098"/>
                  <a:gd name="connsiteY8" fmla="*/ 418312 h 604040"/>
                  <a:gd name="connsiteX9" fmla="*/ 463897 w 605098"/>
                  <a:gd name="connsiteY9" fmla="*/ 410815 h 604040"/>
                  <a:gd name="connsiteX10" fmla="*/ 472602 w 605098"/>
                  <a:gd name="connsiteY10" fmla="*/ 397919 h 604040"/>
                  <a:gd name="connsiteX11" fmla="*/ 556645 w 605098"/>
                  <a:gd name="connsiteY11" fmla="*/ 358032 h 604040"/>
                  <a:gd name="connsiteX12" fmla="*/ 560997 w 605098"/>
                  <a:gd name="connsiteY12" fmla="*/ 357132 h 604040"/>
                  <a:gd name="connsiteX13" fmla="*/ 560997 w 605098"/>
                  <a:gd name="connsiteY13" fmla="*/ 310417 h 604040"/>
                  <a:gd name="connsiteX14" fmla="*/ 568051 w 605098"/>
                  <a:gd name="connsiteY14" fmla="*/ 317756 h 604040"/>
                  <a:gd name="connsiteX15" fmla="*/ 559197 w 605098"/>
                  <a:gd name="connsiteY15" fmla="*/ 330787 h 604040"/>
                  <a:gd name="connsiteX16" fmla="*/ 475303 w 605098"/>
                  <a:gd name="connsiteY16" fmla="*/ 370479 h 604040"/>
                  <a:gd name="connsiteX17" fmla="*/ 470951 w 605098"/>
                  <a:gd name="connsiteY17" fmla="*/ 371527 h 604040"/>
                  <a:gd name="connsiteX18" fmla="*/ 463897 w 605098"/>
                  <a:gd name="connsiteY18" fmla="*/ 364188 h 604040"/>
                  <a:gd name="connsiteX19" fmla="*/ 472602 w 605098"/>
                  <a:gd name="connsiteY19" fmla="*/ 351157 h 604040"/>
                  <a:gd name="connsiteX20" fmla="*/ 556645 w 605098"/>
                  <a:gd name="connsiteY20" fmla="*/ 311465 h 604040"/>
                  <a:gd name="connsiteX21" fmla="*/ 560997 w 605098"/>
                  <a:gd name="connsiteY21" fmla="*/ 310417 h 604040"/>
                  <a:gd name="connsiteX22" fmla="*/ 44092 w 605098"/>
                  <a:gd name="connsiteY22" fmla="*/ 310417 h 604040"/>
                  <a:gd name="connsiteX23" fmla="*/ 48445 w 605098"/>
                  <a:gd name="connsiteY23" fmla="*/ 311465 h 604040"/>
                  <a:gd name="connsiteX24" fmla="*/ 132496 w 605098"/>
                  <a:gd name="connsiteY24" fmla="*/ 351157 h 604040"/>
                  <a:gd name="connsiteX25" fmla="*/ 141201 w 605098"/>
                  <a:gd name="connsiteY25" fmla="*/ 364188 h 604040"/>
                  <a:gd name="connsiteX26" fmla="*/ 134147 w 605098"/>
                  <a:gd name="connsiteY26" fmla="*/ 371527 h 604040"/>
                  <a:gd name="connsiteX27" fmla="*/ 129944 w 605098"/>
                  <a:gd name="connsiteY27" fmla="*/ 370629 h 604040"/>
                  <a:gd name="connsiteX28" fmla="*/ 45893 w 605098"/>
                  <a:gd name="connsiteY28" fmla="*/ 330787 h 604040"/>
                  <a:gd name="connsiteX29" fmla="*/ 37188 w 605098"/>
                  <a:gd name="connsiteY29" fmla="*/ 317756 h 604040"/>
                  <a:gd name="connsiteX30" fmla="*/ 44092 w 605098"/>
                  <a:gd name="connsiteY30" fmla="*/ 310417 h 604040"/>
                  <a:gd name="connsiteX31" fmla="*/ 242073 w 605098"/>
                  <a:gd name="connsiteY31" fmla="*/ 261727 h 604040"/>
                  <a:gd name="connsiteX32" fmla="*/ 363016 w 605098"/>
                  <a:gd name="connsiteY32" fmla="*/ 261727 h 604040"/>
                  <a:gd name="connsiteX33" fmla="*/ 373220 w 605098"/>
                  <a:gd name="connsiteY33" fmla="*/ 271778 h 604040"/>
                  <a:gd name="connsiteX34" fmla="*/ 363016 w 605098"/>
                  <a:gd name="connsiteY34" fmla="*/ 281979 h 604040"/>
                  <a:gd name="connsiteX35" fmla="*/ 242073 w 605098"/>
                  <a:gd name="connsiteY35" fmla="*/ 281979 h 604040"/>
                  <a:gd name="connsiteX36" fmla="*/ 232019 w 605098"/>
                  <a:gd name="connsiteY36" fmla="*/ 271778 h 604040"/>
                  <a:gd name="connsiteX37" fmla="*/ 242073 w 605098"/>
                  <a:gd name="connsiteY37" fmla="*/ 261727 h 604040"/>
                  <a:gd name="connsiteX38" fmla="*/ 242073 w 605098"/>
                  <a:gd name="connsiteY38" fmla="*/ 221434 h 604040"/>
                  <a:gd name="connsiteX39" fmla="*/ 363016 w 605098"/>
                  <a:gd name="connsiteY39" fmla="*/ 221434 h 604040"/>
                  <a:gd name="connsiteX40" fmla="*/ 373220 w 605098"/>
                  <a:gd name="connsiteY40" fmla="*/ 231635 h 604040"/>
                  <a:gd name="connsiteX41" fmla="*/ 363016 w 605098"/>
                  <a:gd name="connsiteY41" fmla="*/ 241686 h 604040"/>
                  <a:gd name="connsiteX42" fmla="*/ 242073 w 605098"/>
                  <a:gd name="connsiteY42" fmla="*/ 241686 h 604040"/>
                  <a:gd name="connsiteX43" fmla="*/ 232019 w 605098"/>
                  <a:gd name="connsiteY43" fmla="*/ 231635 h 604040"/>
                  <a:gd name="connsiteX44" fmla="*/ 242073 w 605098"/>
                  <a:gd name="connsiteY44" fmla="*/ 221434 h 604040"/>
                  <a:gd name="connsiteX45" fmla="*/ 564735 w 605098"/>
                  <a:gd name="connsiteY45" fmla="*/ 192785 h 604040"/>
                  <a:gd name="connsiteX46" fmla="*/ 564735 w 605098"/>
                  <a:gd name="connsiteY46" fmla="*/ 262610 h 604040"/>
                  <a:gd name="connsiteX47" fmla="*/ 464038 w 605098"/>
                  <a:gd name="connsiteY47" fmla="*/ 310559 h 604040"/>
                  <a:gd name="connsiteX48" fmla="*/ 464038 w 605098"/>
                  <a:gd name="connsiteY48" fmla="*/ 240733 h 604040"/>
                  <a:gd name="connsiteX49" fmla="*/ 242073 w 605098"/>
                  <a:gd name="connsiteY49" fmla="*/ 181283 h 604040"/>
                  <a:gd name="connsiteX50" fmla="*/ 363016 w 605098"/>
                  <a:gd name="connsiteY50" fmla="*/ 181283 h 604040"/>
                  <a:gd name="connsiteX51" fmla="*/ 373220 w 605098"/>
                  <a:gd name="connsiteY51" fmla="*/ 191303 h 604040"/>
                  <a:gd name="connsiteX52" fmla="*/ 363016 w 605098"/>
                  <a:gd name="connsiteY52" fmla="*/ 201324 h 604040"/>
                  <a:gd name="connsiteX53" fmla="*/ 242073 w 605098"/>
                  <a:gd name="connsiteY53" fmla="*/ 201324 h 604040"/>
                  <a:gd name="connsiteX54" fmla="*/ 232019 w 605098"/>
                  <a:gd name="connsiteY54" fmla="*/ 191303 h 604040"/>
                  <a:gd name="connsiteX55" fmla="*/ 242073 w 605098"/>
                  <a:gd name="connsiteY55" fmla="*/ 181283 h 604040"/>
                  <a:gd name="connsiteX56" fmla="*/ 40363 w 605098"/>
                  <a:gd name="connsiteY56" fmla="*/ 122219 h 604040"/>
                  <a:gd name="connsiteX57" fmla="*/ 141201 w 605098"/>
                  <a:gd name="connsiteY57" fmla="*/ 170165 h 604040"/>
                  <a:gd name="connsiteX58" fmla="*/ 141201 w 605098"/>
                  <a:gd name="connsiteY58" fmla="*/ 310558 h 604040"/>
                  <a:gd name="connsiteX59" fmla="*/ 40363 w 605098"/>
                  <a:gd name="connsiteY59" fmla="*/ 262611 h 604040"/>
                  <a:gd name="connsiteX60" fmla="*/ 211764 w 605098"/>
                  <a:gd name="connsiteY60" fmla="*/ 100661 h 604040"/>
                  <a:gd name="connsiteX61" fmla="*/ 211764 w 605098"/>
                  <a:gd name="connsiteY61" fmla="*/ 583965 h 604040"/>
                  <a:gd name="connsiteX62" fmla="*/ 393335 w 605098"/>
                  <a:gd name="connsiteY62" fmla="*/ 583965 h 604040"/>
                  <a:gd name="connsiteX63" fmla="*/ 393335 w 605098"/>
                  <a:gd name="connsiteY63" fmla="*/ 100661 h 604040"/>
                  <a:gd name="connsiteX64" fmla="*/ 191656 w 605098"/>
                  <a:gd name="connsiteY64" fmla="*/ 80586 h 604040"/>
                  <a:gd name="connsiteX65" fmla="*/ 413443 w 605098"/>
                  <a:gd name="connsiteY65" fmla="*/ 80586 h 604040"/>
                  <a:gd name="connsiteX66" fmla="*/ 413443 w 605098"/>
                  <a:gd name="connsiteY66" fmla="*/ 604040 h 604040"/>
                  <a:gd name="connsiteX67" fmla="*/ 191656 w 605098"/>
                  <a:gd name="connsiteY67" fmla="*/ 604040 h 604040"/>
                  <a:gd name="connsiteX68" fmla="*/ 584990 w 605098"/>
                  <a:gd name="connsiteY68" fmla="*/ 30561 h 604040"/>
                  <a:gd name="connsiteX69" fmla="*/ 443782 w 605098"/>
                  <a:gd name="connsiteY69" fmla="*/ 93632 h 604040"/>
                  <a:gd name="connsiteX70" fmla="*/ 443782 w 605098"/>
                  <a:gd name="connsiteY70" fmla="*/ 573029 h 604040"/>
                  <a:gd name="connsiteX71" fmla="*/ 584990 w 605098"/>
                  <a:gd name="connsiteY71" fmla="*/ 510408 h 604040"/>
                  <a:gd name="connsiteX72" fmla="*/ 20107 w 605098"/>
                  <a:gd name="connsiteY72" fmla="*/ 30561 h 604040"/>
                  <a:gd name="connsiteX73" fmla="*/ 20107 w 605098"/>
                  <a:gd name="connsiteY73" fmla="*/ 510408 h 604040"/>
                  <a:gd name="connsiteX74" fmla="*/ 161308 w 605098"/>
                  <a:gd name="connsiteY74" fmla="*/ 573029 h 604040"/>
                  <a:gd name="connsiteX75" fmla="*/ 161308 w 605098"/>
                  <a:gd name="connsiteY75" fmla="*/ 93632 h 604040"/>
                  <a:gd name="connsiteX76" fmla="*/ 605098 w 605098"/>
                  <a:gd name="connsiteY76" fmla="*/ 0 h 604040"/>
                  <a:gd name="connsiteX77" fmla="*/ 605098 w 605098"/>
                  <a:gd name="connsiteY77" fmla="*/ 523591 h 604040"/>
                  <a:gd name="connsiteX78" fmla="*/ 423674 w 605098"/>
                  <a:gd name="connsiteY78" fmla="*/ 604040 h 604040"/>
                  <a:gd name="connsiteX79" fmla="*/ 423674 w 605098"/>
                  <a:gd name="connsiteY79" fmla="*/ 80598 h 604040"/>
                  <a:gd name="connsiteX80" fmla="*/ 0 w 605098"/>
                  <a:gd name="connsiteY80" fmla="*/ 0 h 604040"/>
                  <a:gd name="connsiteX81" fmla="*/ 181565 w 605098"/>
                  <a:gd name="connsiteY81" fmla="*/ 80598 h 604040"/>
                  <a:gd name="connsiteX82" fmla="*/ 181565 w 605098"/>
                  <a:gd name="connsiteY82" fmla="*/ 604040 h 604040"/>
                  <a:gd name="connsiteX83" fmla="*/ 0 w 605098"/>
                  <a:gd name="connsiteY83" fmla="*/ 523591 h 604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5098" h="604040">
                    <a:moveTo>
                      <a:pt x="242039" y="412737"/>
                    </a:moveTo>
                    <a:lnTo>
                      <a:pt x="362988" y="412737"/>
                    </a:lnTo>
                    <a:lnTo>
                      <a:pt x="362988" y="523595"/>
                    </a:lnTo>
                    <a:lnTo>
                      <a:pt x="242039" y="523595"/>
                    </a:lnTo>
                    <a:close/>
                    <a:moveTo>
                      <a:pt x="560997" y="357132"/>
                    </a:moveTo>
                    <a:cubicBezTo>
                      <a:pt x="565050" y="357132"/>
                      <a:pt x="568051" y="360131"/>
                      <a:pt x="568051" y="364480"/>
                    </a:cubicBezTo>
                    <a:cubicBezTo>
                      <a:pt x="568051" y="369428"/>
                      <a:pt x="564149" y="375276"/>
                      <a:pt x="559197" y="377526"/>
                    </a:cubicBezTo>
                    <a:lnTo>
                      <a:pt x="475303" y="417263"/>
                    </a:lnTo>
                    <a:cubicBezTo>
                      <a:pt x="473802" y="418012"/>
                      <a:pt x="472301" y="418312"/>
                      <a:pt x="470951" y="418312"/>
                    </a:cubicBezTo>
                    <a:cubicBezTo>
                      <a:pt x="466899" y="418312"/>
                      <a:pt x="464047" y="415313"/>
                      <a:pt x="463897" y="410815"/>
                    </a:cubicBezTo>
                    <a:cubicBezTo>
                      <a:pt x="463897" y="405866"/>
                      <a:pt x="467799" y="400168"/>
                      <a:pt x="472602" y="397919"/>
                    </a:cubicBezTo>
                    <a:lnTo>
                      <a:pt x="556645" y="358032"/>
                    </a:lnTo>
                    <a:cubicBezTo>
                      <a:pt x="558146" y="357432"/>
                      <a:pt x="559647" y="357132"/>
                      <a:pt x="560997" y="357132"/>
                    </a:cubicBezTo>
                    <a:close/>
                    <a:moveTo>
                      <a:pt x="560997" y="310417"/>
                    </a:moveTo>
                    <a:cubicBezTo>
                      <a:pt x="565050" y="310417"/>
                      <a:pt x="568051" y="313412"/>
                      <a:pt x="568051" y="317756"/>
                    </a:cubicBezTo>
                    <a:cubicBezTo>
                      <a:pt x="568051" y="322848"/>
                      <a:pt x="564149" y="328540"/>
                      <a:pt x="559197" y="330787"/>
                    </a:cubicBezTo>
                    <a:lnTo>
                      <a:pt x="475303" y="370479"/>
                    </a:lnTo>
                    <a:cubicBezTo>
                      <a:pt x="473802" y="371228"/>
                      <a:pt x="472301" y="371527"/>
                      <a:pt x="470951" y="371527"/>
                    </a:cubicBezTo>
                    <a:cubicBezTo>
                      <a:pt x="466899" y="371527"/>
                      <a:pt x="464047" y="368532"/>
                      <a:pt x="463897" y="364188"/>
                    </a:cubicBezTo>
                    <a:cubicBezTo>
                      <a:pt x="463897" y="359245"/>
                      <a:pt x="467799" y="353403"/>
                      <a:pt x="472602" y="351157"/>
                    </a:cubicBezTo>
                    <a:lnTo>
                      <a:pt x="556645" y="311465"/>
                    </a:lnTo>
                    <a:cubicBezTo>
                      <a:pt x="558146" y="310716"/>
                      <a:pt x="559647" y="310417"/>
                      <a:pt x="560997" y="310417"/>
                    </a:cubicBezTo>
                    <a:close/>
                    <a:moveTo>
                      <a:pt x="44092" y="310417"/>
                    </a:moveTo>
                    <a:cubicBezTo>
                      <a:pt x="45593" y="310417"/>
                      <a:pt x="46944" y="310716"/>
                      <a:pt x="48445" y="311465"/>
                    </a:cubicBezTo>
                    <a:lnTo>
                      <a:pt x="132496" y="351157"/>
                    </a:lnTo>
                    <a:cubicBezTo>
                      <a:pt x="137299" y="353403"/>
                      <a:pt x="141201" y="359245"/>
                      <a:pt x="141201" y="364188"/>
                    </a:cubicBezTo>
                    <a:cubicBezTo>
                      <a:pt x="141201" y="368532"/>
                      <a:pt x="138349" y="371527"/>
                      <a:pt x="134147" y="371527"/>
                    </a:cubicBezTo>
                    <a:cubicBezTo>
                      <a:pt x="132796" y="371527"/>
                      <a:pt x="131295" y="371228"/>
                      <a:pt x="129944" y="370629"/>
                    </a:cubicBezTo>
                    <a:lnTo>
                      <a:pt x="45893" y="330787"/>
                    </a:lnTo>
                    <a:cubicBezTo>
                      <a:pt x="40940" y="328540"/>
                      <a:pt x="37188" y="322848"/>
                      <a:pt x="37188" y="317756"/>
                    </a:cubicBezTo>
                    <a:cubicBezTo>
                      <a:pt x="37188" y="313412"/>
                      <a:pt x="40040" y="310417"/>
                      <a:pt x="44092" y="310417"/>
                    </a:cubicBezTo>
                    <a:close/>
                    <a:moveTo>
                      <a:pt x="242073" y="261727"/>
                    </a:moveTo>
                    <a:lnTo>
                      <a:pt x="363016" y="261727"/>
                    </a:lnTo>
                    <a:cubicBezTo>
                      <a:pt x="368568" y="261727"/>
                      <a:pt x="373220" y="266227"/>
                      <a:pt x="373220" y="271778"/>
                    </a:cubicBezTo>
                    <a:cubicBezTo>
                      <a:pt x="373220" y="277478"/>
                      <a:pt x="368568" y="281979"/>
                      <a:pt x="363016" y="281979"/>
                    </a:cubicBezTo>
                    <a:lnTo>
                      <a:pt x="242073" y="281979"/>
                    </a:lnTo>
                    <a:cubicBezTo>
                      <a:pt x="236521" y="281979"/>
                      <a:pt x="232019" y="277328"/>
                      <a:pt x="232019" y="271778"/>
                    </a:cubicBezTo>
                    <a:cubicBezTo>
                      <a:pt x="232019" y="266227"/>
                      <a:pt x="236521" y="261727"/>
                      <a:pt x="242073" y="261727"/>
                    </a:cubicBezTo>
                    <a:close/>
                    <a:moveTo>
                      <a:pt x="242073" y="221434"/>
                    </a:moveTo>
                    <a:lnTo>
                      <a:pt x="363016" y="221434"/>
                    </a:lnTo>
                    <a:cubicBezTo>
                      <a:pt x="368568" y="221434"/>
                      <a:pt x="373220" y="226084"/>
                      <a:pt x="373220" y="231635"/>
                    </a:cubicBezTo>
                    <a:cubicBezTo>
                      <a:pt x="373220" y="237185"/>
                      <a:pt x="368568" y="241686"/>
                      <a:pt x="363016" y="241686"/>
                    </a:cubicBezTo>
                    <a:lnTo>
                      <a:pt x="242073" y="241686"/>
                    </a:lnTo>
                    <a:cubicBezTo>
                      <a:pt x="236521" y="241686"/>
                      <a:pt x="232019" y="237185"/>
                      <a:pt x="232019" y="231635"/>
                    </a:cubicBezTo>
                    <a:cubicBezTo>
                      <a:pt x="232019" y="226084"/>
                      <a:pt x="236521" y="221434"/>
                      <a:pt x="242073" y="221434"/>
                    </a:cubicBezTo>
                    <a:close/>
                    <a:moveTo>
                      <a:pt x="564735" y="192785"/>
                    </a:moveTo>
                    <a:lnTo>
                      <a:pt x="564735" y="262610"/>
                    </a:lnTo>
                    <a:lnTo>
                      <a:pt x="464038" y="310559"/>
                    </a:lnTo>
                    <a:lnTo>
                      <a:pt x="464038" y="240733"/>
                    </a:lnTo>
                    <a:close/>
                    <a:moveTo>
                      <a:pt x="242073" y="181283"/>
                    </a:moveTo>
                    <a:lnTo>
                      <a:pt x="363016" y="181283"/>
                    </a:lnTo>
                    <a:cubicBezTo>
                      <a:pt x="368568" y="181283"/>
                      <a:pt x="373220" y="185770"/>
                      <a:pt x="373220" y="191303"/>
                    </a:cubicBezTo>
                    <a:cubicBezTo>
                      <a:pt x="373220" y="196837"/>
                      <a:pt x="368568" y="201324"/>
                      <a:pt x="363016" y="201324"/>
                    </a:cubicBezTo>
                    <a:lnTo>
                      <a:pt x="242073" y="201324"/>
                    </a:lnTo>
                    <a:cubicBezTo>
                      <a:pt x="236521" y="201324"/>
                      <a:pt x="232019" y="196837"/>
                      <a:pt x="232019" y="191303"/>
                    </a:cubicBezTo>
                    <a:cubicBezTo>
                      <a:pt x="232019" y="185770"/>
                      <a:pt x="236521" y="181283"/>
                      <a:pt x="242073" y="181283"/>
                    </a:cubicBezTo>
                    <a:close/>
                    <a:moveTo>
                      <a:pt x="40363" y="122219"/>
                    </a:moveTo>
                    <a:lnTo>
                      <a:pt x="141201" y="170165"/>
                    </a:lnTo>
                    <a:lnTo>
                      <a:pt x="141201" y="310558"/>
                    </a:lnTo>
                    <a:lnTo>
                      <a:pt x="40363" y="262611"/>
                    </a:lnTo>
                    <a:close/>
                    <a:moveTo>
                      <a:pt x="211764" y="100661"/>
                    </a:moveTo>
                    <a:lnTo>
                      <a:pt x="211764" y="583965"/>
                    </a:lnTo>
                    <a:lnTo>
                      <a:pt x="393335" y="583965"/>
                    </a:lnTo>
                    <a:lnTo>
                      <a:pt x="393335" y="100661"/>
                    </a:lnTo>
                    <a:close/>
                    <a:moveTo>
                      <a:pt x="191656" y="80586"/>
                    </a:moveTo>
                    <a:lnTo>
                      <a:pt x="413443" y="80586"/>
                    </a:lnTo>
                    <a:lnTo>
                      <a:pt x="413443" y="604040"/>
                    </a:lnTo>
                    <a:lnTo>
                      <a:pt x="191656" y="604040"/>
                    </a:lnTo>
                    <a:close/>
                    <a:moveTo>
                      <a:pt x="584990" y="30561"/>
                    </a:moveTo>
                    <a:lnTo>
                      <a:pt x="443782" y="93632"/>
                    </a:lnTo>
                    <a:lnTo>
                      <a:pt x="443782" y="573029"/>
                    </a:lnTo>
                    <a:lnTo>
                      <a:pt x="584990" y="510408"/>
                    </a:lnTo>
                    <a:close/>
                    <a:moveTo>
                      <a:pt x="20107" y="30561"/>
                    </a:moveTo>
                    <a:lnTo>
                      <a:pt x="20107" y="510408"/>
                    </a:lnTo>
                    <a:lnTo>
                      <a:pt x="161308" y="573029"/>
                    </a:lnTo>
                    <a:lnTo>
                      <a:pt x="161308" y="93632"/>
                    </a:lnTo>
                    <a:close/>
                    <a:moveTo>
                      <a:pt x="605098" y="0"/>
                    </a:moveTo>
                    <a:lnTo>
                      <a:pt x="605098" y="523591"/>
                    </a:lnTo>
                    <a:lnTo>
                      <a:pt x="423674" y="604040"/>
                    </a:lnTo>
                    <a:lnTo>
                      <a:pt x="423674" y="80598"/>
                    </a:lnTo>
                    <a:close/>
                    <a:moveTo>
                      <a:pt x="0" y="0"/>
                    </a:moveTo>
                    <a:lnTo>
                      <a:pt x="181565" y="80598"/>
                    </a:lnTo>
                    <a:lnTo>
                      <a:pt x="181565" y="604040"/>
                    </a:lnTo>
                    <a:lnTo>
                      <a:pt x="0" y="52359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17" name="空心弧 16">
              <a:extLst>
                <a:ext uri="{FF2B5EF4-FFF2-40B4-BE49-F238E27FC236}">
                  <a16:creationId xmlns:a16="http://schemas.microsoft.com/office/drawing/2014/main" id="{FDE29571-CB1E-4A4B-B035-251502C20EA1}"/>
                </a:ext>
              </a:extLst>
            </p:cNvPr>
            <p:cNvSpPr/>
            <p:nvPr/>
          </p:nvSpPr>
          <p:spPr>
            <a:xfrm>
              <a:off x="8016509" y="1243419"/>
              <a:ext cx="1291814" cy="1291814"/>
            </a:xfrm>
            <a:prstGeom prst="blockArc">
              <a:avLst>
                <a:gd name="adj1" fmla="val 6572985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2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20" name="流程图: 过程 19">
            <a:extLst>
              <a:ext uri="{FF2B5EF4-FFF2-40B4-BE49-F238E27FC236}">
                <a16:creationId xmlns:a16="http://schemas.microsoft.com/office/drawing/2014/main" id="{244BD30B-9070-4C6C-B9DA-0C4E93E091CA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29733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>
            <a:extLst>
              <a:ext uri="{FF2B5EF4-FFF2-40B4-BE49-F238E27FC236}">
                <a16:creationId xmlns:a16="http://schemas.microsoft.com/office/drawing/2014/main" id="{4074020B-9095-4010-BFB7-9DB17CFA7E8B}"/>
              </a:ext>
            </a:extLst>
          </p:cNvPr>
          <p:cNvSpPr/>
          <p:nvPr/>
        </p:nvSpPr>
        <p:spPr>
          <a:xfrm>
            <a:off x="0" y="1004665"/>
            <a:ext cx="12192000" cy="5698782"/>
          </a:xfrm>
          <a:prstGeom prst="rect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783629" y="3422476"/>
            <a:ext cx="10911066" cy="464744"/>
          </a:xfrm>
        </p:spPr>
        <p:txBody>
          <a:bodyPr>
            <a:normAutofit fontScale="97500"/>
          </a:bodyPr>
          <a:lstStyle/>
          <a:p>
            <a:pPr algn="l">
              <a:lnSpc>
                <a:spcPct val="16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公司旗下拥有专业无人机竞速赛事品牌，无人机产品研发、销售，无人机教育培训及无人机场馆运营等全方面成熟业务。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2AB18721-43EE-4BB7-A746-10C04452EBED}"/>
              </a:ext>
            </a:extLst>
          </p:cNvPr>
          <p:cNvGrpSpPr/>
          <p:nvPr/>
        </p:nvGrpSpPr>
        <p:grpSpPr>
          <a:xfrm>
            <a:off x="288756" y="152481"/>
            <a:ext cx="713793" cy="713793"/>
            <a:chOff x="8016509" y="1243419"/>
            <a:chExt cx="1291814" cy="1291814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B78FEC7F-BF48-4D7A-B6CE-D36DF4C7C1F9}"/>
                </a:ext>
              </a:extLst>
            </p:cNvPr>
            <p:cNvGrpSpPr/>
            <p:nvPr/>
          </p:nvGrpSpPr>
          <p:grpSpPr>
            <a:xfrm>
              <a:off x="8156448" y="1376172"/>
              <a:ext cx="1011936" cy="1011936"/>
              <a:chOff x="9424416" y="1334859"/>
              <a:chExt cx="1316736" cy="1316736"/>
            </a:xfrm>
          </p:grpSpPr>
          <p:sp>
            <p:nvSpPr>
              <p:cNvPr id="7" name="椭圆 6">
                <a:extLst>
                  <a:ext uri="{FF2B5EF4-FFF2-40B4-BE49-F238E27FC236}">
                    <a16:creationId xmlns:a16="http://schemas.microsoft.com/office/drawing/2014/main" id="{128CF76F-6B98-485F-8847-9B4C06101BBD}"/>
                  </a:ext>
                </a:extLst>
              </p:cNvPr>
              <p:cNvSpPr/>
              <p:nvPr/>
            </p:nvSpPr>
            <p:spPr>
              <a:xfrm>
                <a:off x="9424416" y="1334859"/>
                <a:ext cx="1316736" cy="1316736"/>
              </a:xfrm>
              <a:prstGeom prst="ellipse">
                <a:avLst/>
              </a:prstGeom>
              <a:solidFill>
                <a:srgbClr val="1D53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  <p:sp>
            <p:nvSpPr>
              <p:cNvPr id="8" name="triptych-brochure_30017">
                <a:extLst>
                  <a:ext uri="{FF2B5EF4-FFF2-40B4-BE49-F238E27FC236}">
                    <a16:creationId xmlns:a16="http://schemas.microsoft.com/office/drawing/2014/main" id="{CC0085E9-7DAC-49B5-A590-76511365E18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9779693" y="1693514"/>
                <a:ext cx="628013" cy="626915"/>
              </a:xfrm>
              <a:custGeom>
                <a:avLst/>
                <a:gdLst>
                  <a:gd name="connsiteX0" fmla="*/ 242039 w 605098"/>
                  <a:gd name="connsiteY0" fmla="*/ 412737 h 604040"/>
                  <a:gd name="connsiteX1" fmla="*/ 362988 w 605098"/>
                  <a:gd name="connsiteY1" fmla="*/ 412737 h 604040"/>
                  <a:gd name="connsiteX2" fmla="*/ 362988 w 605098"/>
                  <a:gd name="connsiteY2" fmla="*/ 523595 h 604040"/>
                  <a:gd name="connsiteX3" fmla="*/ 242039 w 605098"/>
                  <a:gd name="connsiteY3" fmla="*/ 523595 h 604040"/>
                  <a:gd name="connsiteX4" fmla="*/ 560997 w 605098"/>
                  <a:gd name="connsiteY4" fmla="*/ 357132 h 604040"/>
                  <a:gd name="connsiteX5" fmla="*/ 568051 w 605098"/>
                  <a:gd name="connsiteY5" fmla="*/ 364480 h 604040"/>
                  <a:gd name="connsiteX6" fmla="*/ 559197 w 605098"/>
                  <a:gd name="connsiteY6" fmla="*/ 377526 h 604040"/>
                  <a:gd name="connsiteX7" fmla="*/ 475303 w 605098"/>
                  <a:gd name="connsiteY7" fmla="*/ 417263 h 604040"/>
                  <a:gd name="connsiteX8" fmla="*/ 470951 w 605098"/>
                  <a:gd name="connsiteY8" fmla="*/ 418312 h 604040"/>
                  <a:gd name="connsiteX9" fmla="*/ 463897 w 605098"/>
                  <a:gd name="connsiteY9" fmla="*/ 410815 h 604040"/>
                  <a:gd name="connsiteX10" fmla="*/ 472602 w 605098"/>
                  <a:gd name="connsiteY10" fmla="*/ 397919 h 604040"/>
                  <a:gd name="connsiteX11" fmla="*/ 556645 w 605098"/>
                  <a:gd name="connsiteY11" fmla="*/ 358032 h 604040"/>
                  <a:gd name="connsiteX12" fmla="*/ 560997 w 605098"/>
                  <a:gd name="connsiteY12" fmla="*/ 357132 h 604040"/>
                  <a:gd name="connsiteX13" fmla="*/ 560997 w 605098"/>
                  <a:gd name="connsiteY13" fmla="*/ 310417 h 604040"/>
                  <a:gd name="connsiteX14" fmla="*/ 568051 w 605098"/>
                  <a:gd name="connsiteY14" fmla="*/ 317756 h 604040"/>
                  <a:gd name="connsiteX15" fmla="*/ 559197 w 605098"/>
                  <a:gd name="connsiteY15" fmla="*/ 330787 h 604040"/>
                  <a:gd name="connsiteX16" fmla="*/ 475303 w 605098"/>
                  <a:gd name="connsiteY16" fmla="*/ 370479 h 604040"/>
                  <a:gd name="connsiteX17" fmla="*/ 470951 w 605098"/>
                  <a:gd name="connsiteY17" fmla="*/ 371527 h 604040"/>
                  <a:gd name="connsiteX18" fmla="*/ 463897 w 605098"/>
                  <a:gd name="connsiteY18" fmla="*/ 364188 h 604040"/>
                  <a:gd name="connsiteX19" fmla="*/ 472602 w 605098"/>
                  <a:gd name="connsiteY19" fmla="*/ 351157 h 604040"/>
                  <a:gd name="connsiteX20" fmla="*/ 556645 w 605098"/>
                  <a:gd name="connsiteY20" fmla="*/ 311465 h 604040"/>
                  <a:gd name="connsiteX21" fmla="*/ 560997 w 605098"/>
                  <a:gd name="connsiteY21" fmla="*/ 310417 h 604040"/>
                  <a:gd name="connsiteX22" fmla="*/ 44092 w 605098"/>
                  <a:gd name="connsiteY22" fmla="*/ 310417 h 604040"/>
                  <a:gd name="connsiteX23" fmla="*/ 48445 w 605098"/>
                  <a:gd name="connsiteY23" fmla="*/ 311465 h 604040"/>
                  <a:gd name="connsiteX24" fmla="*/ 132496 w 605098"/>
                  <a:gd name="connsiteY24" fmla="*/ 351157 h 604040"/>
                  <a:gd name="connsiteX25" fmla="*/ 141201 w 605098"/>
                  <a:gd name="connsiteY25" fmla="*/ 364188 h 604040"/>
                  <a:gd name="connsiteX26" fmla="*/ 134147 w 605098"/>
                  <a:gd name="connsiteY26" fmla="*/ 371527 h 604040"/>
                  <a:gd name="connsiteX27" fmla="*/ 129944 w 605098"/>
                  <a:gd name="connsiteY27" fmla="*/ 370629 h 604040"/>
                  <a:gd name="connsiteX28" fmla="*/ 45893 w 605098"/>
                  <a:gd name="connsiteY28" fmla="*/ 330787 h 604040"/>
                  <a:gd name="connsiteX29" fmla="*/ 37188 w 605098"/>
                  <a:gd name="connsiteY29" fmla="*/ 317756 h 604040"/>
                  <a:gd name="connsiteX30" fmla="*/ 44092 w 605098"/>
                  <a:gd name="connsiteY30" fmla="*/ 310417 h 604040"/>
                  <a:gd name="connsiteX31" fmla="*/ 242073 w 605098"/>
                  <a:gd name="connsiteY31" fmla="*/ 261727 h 604040"/>
                  <a:gd name="connsiteX32" fmla="*/ 363016 w 605098"/>
                  <a:gd name="connsiteY32" fmla="*/ 261727 h 604040"/>
                  <a:gd name="connsiteX33" fmla="*/ 373220 w 605098"/>
                  <a:gd name="connsiteY33" fmla="*/ 271778 h 604040"/>
                  <a:gd name="connsiteX34" fmla="*/ 363016 w 605098"/>
                  <a:gd name="connsiteY34" fmla="*/ 281979 h 604040"/>
                  <a:gd name="connsiteX35" fmla="*/ 242073 w 605098"/>
                  <a:gd name="connsiteY35" fmla="*/ 281979 h 604040"/>
                  <a:gd name="connsiteX36" fmla="*/ 232019 w 605098"/>
                  <a:gd name="connsiteY36" fmla="*/ 271778 h 604040"/>
                  <a:gd name="connsiteX37" fmla="*/ 242073 w 605098"/>
                  <a:gd name="connsiteY37" fmla="*/ 261727 h 604040"/>
                  <a:gd name="connsiteX38" fmla="*/ 242073 w 605098"/>
                  <a:gd name="connsiteY38" fmla="*/ 221434 h 604040"/>
                  <a:gd name="connsiteX39" fmla="*/ 363016 w 605098"/>
                  <a:gd name="connsiteY39" fmla="*/ 221434 h 604040"/>
                  <a:gd name="connsiteX40" fmla="*/ 373220 w 605098"/>
                  <a:gd name="connsiteY40" fmla="*/ 231635 h 604040"/>
                  <a:gd name="connsiteX41" fmla="*/ 363016 w 605098"/>
                  <a:gd name="connsiteY41" fmla="*/ 241686 h 604040"/>
                  <a:gd name="connsiteX42" fmla="*/ 242073 w 605098"/>
                  <a:gd name="connsiteY42" fmla="*/ 241686 h 604040"/>
                  <a:gd name="connsiteX43" fmla="*/ 232019 w 605098"/>
                  <a:gd name="connsiteY43" fmla="*/ 231635 h 604040"/>
                  <a:gd name="connsiteX44" fmla="*/ 242073 w 605098"/>
                  <a:gd name="connsiteY44" fmla="*/ 221434 h 604040"/>
                  <a:gd name="connsiteX45" fmla="*/ 564735 w 605098"/>
                  <a:gd name="connsiteY45" fmla="*/ 192785 h 604040"/>
                  <a:gd name="connsiteX46" fmla="*/ 564735 w 605098"/>
                  <a:gd name="connsiteY46" fmla="*/ 262610 h 604040"/>
                  <a:gd name="connsiteX47" fmla="*/ 464038 w 605098"/>
                  <a:gd name="connsiteY47" fmla="*/ 310559 h 604040"/>
                  <a:gd name="connsiteX48" fmla="*/ 464038 w 605098"/>
                  <a:gd name="connsiteY48" fmla="*/ 240733 h 604040"/>
                  <a:gd name="connsiteX49" fmla="*/ 242073 w 605098"/>
                  <a:gd name="connsiteY49" fmla="*/ 181283 h 604040"/>
                  <a:gd name="connsiteX50" fmla="*/ 363016 w 605098"/>
                  <a:gd name="connsiteY50" fmla="*/ 181283 h 604040"/>
                  <a:gd name="connsiteX51" fmla="*/ 373220 w 605098"/>
                  <a:gd name="connsiteY51" fmla="*/ 191303 h 604040"/>
                  <a:gd name="connsiteX52" fmla="*/ 363016 w 605098"/>
                  <a:gd name="connsiteY52" fmla="*/ 201324 h 604040"/>
                  <a:gd name="connsiteX53" fmla="*/ 242073 w 605098"/>
                  <a:gd name="connsiteY53" fmla="*/ 201324 h 604040"/>
                  <a:gd name="connsiteX54" fmla="*/ 232019 w 605098"/>
                  <a:gd name="connsiteY54" fmla="*/ 191303 h 604040"/>
                  <a:gd name="connsiteX55" fmla="*/ 242073 w 605098"/>
                  <a:gd name="connsiteY55" fmla="*/ 181283 h 604040"/>
                  <a:gd name="connsiteX56" fmla="*/ 40363 w 605098"/>
                  <a:gd name="connsiteY56" fmla="*/ 122219 h 604040"/>
                  <a:gd name="connsiteX57" fmla="*/ 141201 w 605098"/>
                  <a:gd name="connsiteY57" fmla="*/ 170165 h 604040"/>
                  <a:gd name="connsiteX58" fmla="*/ 141201 w 605098"/>
                  <a:gd name="connsiteY58" fmla="*/ 310558 h 604040"/>
                  <a:gd name="connsiteX59" fmla="*/ 40363 w 605098"/>
                  <a:gd name="connsiteY59" fmla="*/ 262611 h 604040"/>
                  <a:gd name="connsiteX60" fmla="*/ 211764 w 605098"/>
                  <a:gd name="connsiteY60" fmla="*/ 100661 h 604040"/>
                  <a:gd name="connsiteX61" fmla="*/ 211764 w 605098"/>
                  <a:gd name="connsiteY61" fmla="*/ 583965 h 604040"/>
                  <a:gd name="connsiteX62" fmla="*/ 393335 w 605098"/>
                  <a:gd name="connsiteY62" fmla="*/ 583965 h 604040"/>
                  <a:gd name="connsiteX63" fmla="*/ 393335 w 605098"/>
                  <a:gd name="connsiteY63" fmla="*/ 100661 h 604040"/>
                  <a:gd name="connsiteX64" fmla="*/ 191656 w 605098"/>
                  <a:gd name="connsiteY64" fmla="*/ 80586 h 604040"/>
                  <a:gd name="connsiteX65" fmla="*/ 413443 w 605098"/>
                  <a:gd name="connsiteY65" fmla="*/ 80586 h 604040"/>
                  <a:gd name="connsiteX66" fmla="*/ 413443 w 605098"/>
                  <a:gd name="connsiteY66" fmla="*/ 604040 h 604040"/>
                  <a:gd name="connsiteX67" fmla="*/ 191656 w 605098"/>
                  <a:gd name="connsiteY67" fmla="*/ 604040 h 604040"/>
                  <a:gd name="connsiteX68" fmla="*/ 584990 w 605098"/>
                  <a:gd name="connsiteY68" fmla="*/ 30561 h 604040"/>
                  <a:gd name="connsiteX69" fmla="*/ 443782 w 605098"/>
                  <a:gd name="connsiteY69" fmla="*/ 93632 h 604040"/>
                  <a:gd name="connsiteX70" fmla="*/ 443782 w 605098"/>
                  <a:gd name="connsiteY70" fmla="*/ 573029 h 604040"/>
                  <a:gd name="connsiteX71" fmla="*/ 584990 w 605098"/>
                  <a:gd name="connsiteY71" fmla="*/ 510408 h 604040"/>
                  <a:gd name="connsiteX72" fmla="*/ 20107 w 605098"/>
                  <a:gd name="connsiteY72" fmla="*/ 30561 h 604040"/>
                  <a:gd name="connsiteX73" fmla="*/ 20107 w 605098"/>
                  <a:gd name="connsiteY73" fmla="*/ 510408 h 604040"/>
                  <a:gd name="connsiteX74" fmla="*/ 161308 w 605098"/>
                  <a:gd name="connsiteY74" fmla="*/ 573029 h 604040"/>
                  <a:gd name="connsiteX75" fmla="*/ 161308 w 605098"/>
                  <a:gd name="connsiteY75" fmla="*/ 93632 h 604040"/>
                  <a:gd name="connsiteX76" fmla="*/ 605098 w 605098"/>
                  <a:gd name="connsiteY76" fmla="*/ 0 h 604040"/>
                  <a:gd name="connsiteX77" fmla="*/ 605098 w 605098"/>
                  <a:gd name="connsiteY77" fmla="*/ 523591 h 604040"/>
                  <a:gd name="connsiteX78" fmla="*/ 423674 w 605098"/>
                  <a:gd name="connsiteY78" fmla="*/ 604040 h 604040"/>
                  <a:gd name="connsiteX79" fmla="*/ 423674 w 605098"/>
                  <a:gd name="connsiteY79" fmla="*/ 80598 h 604040"/>
                  <a:gd name="connsiteX80" fmla="*/ 0 w 605098"/>
                  <a:gd name="connsiteY80" fmla="*/ 0 h 604040"/>
                  <a:gd name="connsiteX81" fmla="*/ 181565 w 605098"/>
                  <a:gd name="connsiteY81" fmla="*/ 80598 h 604040"/>
                  <a:gd name="connsiteX82" fmla="*/ 181565 w 605098"/>
                  <a:gd name="connsiteY82" fmla="*/ 604040 h 604040"/>
                  <a:gd name="connsiteX83" fmla="*/ 0 w 605098"/>
                  <a:gd name="connsiteY83" fmla="*/ 523591 h 604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605098" h="604040">
                    <a:moveTo>
                      <a:pt x="242039" y="412737"/>
                    </a:moveTo>
                    <a:lnTo>
                      <a:pt x="362988" y="412737"/>
                    </a:lnTo>
                    <a:lnTo>
                      <a:pt x="362988" y="523595"/>
                    </a:lnTo>
                    <a:lnTo>
                      <a:pt x="242039" y="523595"/>
                    </a:lnTo>
                    <a:close/>
                    <a:moveTo>
                      <a:pt x="560997" y="357132"/>
                    </a:moveTo>
                    <a:cubicBezTo>
                      <a:pt x="565050" y="357132"/>
                      <a:pt x="568051" y="360131"/>
                      <a:pt x="568051" y="364480"/>
                    </a:cubicBezTo>
                    <a:cubicBezTo>
                      <a:pt x="568051" y="369428"/>
                      <a:pt x="564149" y="375276"/>
                      <a:pt x="559197" y="377526"/>
                    </a:cubicBezTo>
                    <a:lnTo>
                      <a:pt x="475303" y="417263"/>
                    </a:lnTo>
                    <a:cubicBezTo>
                      <a:pt x="473802" y="418012"/>
                      <a:pt x="472301" y="418312"/>
                      <a:pt x="470951" y="418312"/>
                    </a:cubicBezTo>
                    <a:cubicBezTo>
                      <a:pt x="466899" y="418312"/>
                      <a:pt x="464047" y="415313"/>
                      <a:pt x="463897" y="410815"/>
                    </a:cubicBezTo>
                    <a:cubicBezTo>
                      <a:pt x="463897" y="405866"/>
                      <a:pt x="467799" y="400168"/>
                      <a:pt x="472602" y="397919"/>
                    </a:cubicBezTo>
                    <a:lnTo>
                      <a:pt x="556645" y="358032"/>
                    </a:lnTo>
                    <a:cubicBezTo>
                      <a:pt x="558146" y="357432"/>
                      <a:pt x="559647" y="357132"/>
                      <a:pt x="560997" y="357132"/>
                    </a:cubicBezTo>
                    <a:close/>
                    <a:moveTo>
                      <a:pt x="560997" y="310417"/>
                    </a:moveTo>
                    <a:cubicBezTo>
                      <a:pt x="565050" y="310417"/>
                      <a:pt x="568051" y="313412"/>
                      <a:pt x="568051" y="317756"/>
                    </a:cubicBezTo>
                    <a:cubicBezTo>
                      <a:pt x="568051" y="322848"/>
                      <a:pt x="564149" y="328540"/>
                      <a:pt x="559197" y="330787"/>
                    </a:cubicBezTo>
                    <a:lnTo>
                      <a:pt x="475303" y="370479"/>
                    </a:lnTo>
                    <a:cubicBezTo>
                      <a:pt x="473802" y="371228"/>
                      <a:pt x="472301" y="371527"/>
                      <a:pt x="470951" y="371527"/>
                    </a:cubicBezTo>
                    <a:cubicBezTo>
                      <a:pt x="466899" y="371527"/>
                      <a:pt x="464047" y="368532"/>
                      <a:pt x="463897" y="364188"/>
                    </a:cubicBezTo>
                    <a:cubicBezTo>
                      <a:pt x="463897" y="359245"/>
                      <a:pt x="467799" y="353403"/>
                      <a:pt x="472602" y="351157"/>
                    </a:cubicBezTo>
                    <a:lnTo>
                      <a:pt x="556645" y="311465"/>
                    </a:lnTo>
                    <a:cubicBezTo>
                      <a:pt x="558146" y="310716"/>
                      <a:pt x="559647" y="310417"/>
                      <a:pt x="560997" y="310417"/>
                    </a:cubicBezTo>
                    <a:close/>
                    <a:moveTo>
                      <a:pt x="44092" y="310417"/>
                    </a:moveTo>
                    <a:cubicBezTo>
                      <a:pt x="45593" y="310417"/>
                      <a:pt x="46944" y="310716"/>
                      <a:pt x="48445" y="311465"/>
                    </a:cubicBezTo>
                    <a:lnTo>
                      <a:pt x="132496" y="351157"/>
                    </a:lnTo>
                    <a:cubicBezTo>
                      <a:pt x="137299" y="353403"/>
                      <a:pt x="141201" y="359245"/>
                      <a:pt x="141201" y="364188"/>
                    </a:cubicBezTo>
                    <a:cubicBezTo>
                      <a:pt x="141201" y="368532"/>
                      <a:pt x="138349" y="371527"/>
                      <a:pt x="134147" y="371527"/>
                    </a:cubicBezTo>
                    <a:cubicBezTo>
                      <a:pt x="132796" y="371527"/>
                      <a:pt x="131295" y="371228"/>
                      <a:pt x="129944" y="370629"/>
                    </a:cubicBezTo>
                    <a:lnTo>
                      <a:pt x="45893" y="330787"/>
                    </a:lnTo>
                    <a:cubicBezTo>
                      <a:pt x="40940" y="328540"/>
                      <a:pt x="37188" y="322848"/>
                      <a:pt x="37188" y="317756"/>
                    </a:cubicBezTo>
                    <a:cubicBezTo>
                      <a:pt x="37188" y="313412"/>
                      <a:pt x="40040" y="310417"/>
                      <a:pt x="44092" y="310417"/>
                    </a:cubicBezTo>
                    <a:close/>
                    <a:moveTo>
                      <a:pt x="242073" y="261727"/>
                    </a:moveTo>
                    <a:lnTo>
                      <a:pt x="363016" y="261727"/>
                    </a:lnTo>
                    <a:cubicBezTo>
                      <a:pt x="368568" y="261727"/>
                      <a:pt x="373220" y="266227"/>
                      <a:pt x="373220" y="271778"/>
                    </a:cubicBezTo>
                    <a:cubicBezTo>
                      <a:pt x="373220" y="277478"/>
                      <a:pt x="368568" y="281979"/>
                      <a:pt x="363016" y="281979"/>
                    </a:cubicBezTo>
                    <a:lnTo>
                      <a:pt x="242073" y="281979"/>
                    </a:lnTo>
                    <a:cubicBezTo>
                      <a:pt x="236521" y="281979"/>
                      <a:pt x="232019" y="277328"/>
                      <a:pt x="232019" y="271778"/>
                    </a:cubicBezTo>
                    <a:cubicBezTo>
                      <a:pt x="232019" y="266227"/>
                      <a:pt x="236521" y="261727"/>
                      <a:pt x="242073" y="261727"/>
                    </a:cubicBezTo>
                    <a:close/>
                    <a:moveTo>
                      <a:pt x="242073" y="221434"/>
                    </a:moveTo>
                    <a:lnTo>
                      <a:pt x="363016" y="221434"/>
                    </a:lnTo>
                    <a:cubicBezTo>
                      <a:pt x="368568" y="221434"/>
                      <a:pt x="373220" y="226084"/>
                      <a:pt x="373220" y="231635"/>
                    </a:cubicBezTo>
                    <a:cubicBezTo>
                      <a:pt x="373220" y="237185"/>
                      <a:pt x="368568" y="241686"/>
                      <a:pt x="363016" y="241686"/>
                    </a:cubicBezTo>
                    <a:lnTo>
                      <a:pt x="242073" y="241686"/>
                    </a:lnTo>
                    <a:cubicBezTo>
                      <a:pt x="236521" y="241686"/>
                      <a:pt x="232019" y="237185"/>
                      <a:pt x="232019" y="231635"/>
                    </a:cubicBezTo>
                    <a:cubicBezTo>
                      <a:pt x="232019" y="226084"/>
                      <a:pt x="236521" y="221434"/>
                      <a:pt x="242073" y="221434"/>
                    </a:cubicBezTo>
                    <a:close/>
                    <a:moveTo>
                      <a:pt x="564735" y="192785"/>
                    </a:moveTo>
                    <a:lnTo>
                      <a:pt x="564735" y="262610"/>
                    </a:lnTo>
                    <a:lnTo>
                      <a:pt x="464038" y="310559"/>
                    </a:lnTo>
                    <a:lnTo>
                      <a:pt x="464038" y="240733"/>
                    </a:lnTo>
                    <a:close/>
                    <a:moveTo>
                      <a:pt x="242073" y="181283"/>
                    </a:moveTo>
                    <a:lnTo>
                      <a:pt x="363016" y="181283"/>
                    </a:lnTo>
                    <a:cubicBezTo>
                      <a:pt x="368568" y="181283"/>
                      <a:pt x="373220" y="185770"/>
                      <a:pt x="373220" y="191303"/>
                    </a:cubicBezTo>
                    <a:cubicBezTo>
                      <a:pt x="373220" y="196837"/>
                      <a:pt x="368568" y="201324"/>
                      <a:pt x="363016" y="201324"/>
                    </a:cubicBezTo>
                    <a:lnTo>
                      <a:pt x="242073" y="201324"/>
                    </a:lnTo>
                    <a:cubicBezTo>
                      <a:pt x="236521" y="201324"/>
                      <a:pt x="232019" y="196837"/>
                      <a:pt x="232019" y="191303"/>
                    </a:cubicBezTo>
                    <a:cubicBezTo>
                      <a:pt x="232019" y="185770"/>
                      <a:pt x="236521" y="181283"/>
                      <a:pt x="242073" y="181283"/>
                    </a:cubicBezTo>
                    <a:close/>
                    <a:moveTo>
                      <a:pt x="40363" y="122219"/>
                    </a:moveTo>
                    <a:lnTo>
                      <a:pt x="141201" y="170165"/>
                    </a:lnTo>
                    <a:lnTo>
                      <a:pt x="141201" y="310558"/>
                    </a:lnTo>
                    <a:lnTo>
                      <a:pt x="40363" y="262611"/>
                    </a:lnTo>
                    <a:close/>
                    <a:moveTo>
                      <a:pt x="211764" y="100661"/>
                    </a:moveTo>
                    <a:lnTo>
                      <a:pt x="211764" y="583965"/>
                    </a:lnTo>
                    <a:lnTo>
                      <a:pt x="393335" y="583965"/>
                    </a:lnTo>
                    <a:lnTo>
                      <a:pt x="393335" y="100661"/>
                    </a:lnTo>
                    <a:close/>
                    <a:moveTo>
                      <a:pt x="191656" y="80586"/>
                    </a:moveTo>
                    <a:lnTo>
                      <a:pt x="413443" y="80586"/>
                    </a:lnTo>
                    <a:lnTo>
                      <a:pt x="413443" y="604040"/>
                    </a:lnTo>
                    <a:lnTo>
                      <a:pt x="191656" y="604040"/>
                    </a:lnTo>
                    <a:close/>
                    <a:moveTo>
                      <a:pt x="584990" y="30561"/>
                    </a:moveTo>
                    <a:lnTo>
                      <a:pt x="443782" y="93632"/>
                    </a:lnTo>
                    <a:lnTo>
                      <a:pt x="443782" y="573029"/>
                    </a:lnTo>
                    <a:lnTo>
                      <a:pt x="584990" y="510408"/>
                    </a:lnTo>
                    <a:close/>
                    <a:moveTo>
                      <a:pt x="20107" y="30561"/>
                    </a:moveTo>
                    <a:lnTo>
                      <a:pt x="20107" y="510408"/>
                    </a:lnTo>
                    <a:lnTo>
                      <a:pt x="161308" y="573029"/>
                    </a:lnTo>
                    <a:lnTo>
                      <a:pt x="161308" y="93632"/>
                    </a:lnTo>
                    <a:close/>
                    <a:moveTo>
                      <a:pt x="605098" y="0"/>
                    </a:moveTo>
                    <a:lnTo>
                      <a:pt x="605098" y="523591"/>
                    </a:lnTo>
                    <a:lnTo>
                      <a:pt x="423674" y="604040"/>
                    </a:lnTo>
                    <a:lnTo>
                      <a:pt x="423674" y="80598"/>
                    </a:lnTo>
                    <a:close/>
                    <a:moveTo>
                      <a:pt x="0" y="0"/>
                    </a:moveTo>
                    <a:lnTo>
                      <a:pt x="181565" y="80598"/>
                    </a:lnTo>
                    <a:lnTo>
                      <a:pt x="181565" y="604040"/>
                    </a:lnTo>
                    <a:lnTo>
                      <a:pt x="0" y="52359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endParaRPr>
              </a:p>
            </p:txBody>
          </p:sp>
        </p:grpSp>
        <p:sp>
          <p:nvSpPr>
            <p:cNvPr id="6" name="空心弧 5">
              <a:extLst>
                <a:ext uri="{FF2B5EF4-FFF2-40B4-BE49-F238E27FC236}">
                  <a16:creationId xmlns:a16="http://schemas.microsoft.com/office/drawing/2014/main" id="{37EC600F-A0E0-4098-A081-6C4423695098}"/>
                </a:ext>
              </a:extLst>
            </p:cNvPr>
            <p:cNvSpPr/>
            <p:nvPr/>
          </p:nvSpPr>
          <p:spPr>
            <a:xfrm>
              <a:off x="8016509" y="1243419"/>
              <a:ext cx="1291814" cy="1291814"/>
            </a:xfrm>
            <a:prstGeom prst="blockArc">
              <a:avLst>
                <a:gd name="adj1" fmla="val 6572985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2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243A711D-B110-4624-8415-20A411D671BA}"/>
              </a:ext>
            </a:extLst>
          </p:cNvPr>
          <p:cNvSpPr txBox="1"/>
          <p:nvPr/>
        </p:nvSpPr>
        <p:spPr>
          <a:xfrm>
            <a:off x="1071953" y="152481"/>
            <a:ext cx="3223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公司简介</a:t>
            </a:r>
          </a:p>
        </p:txBody>
      </p:sp>
      <p:sp>
        <p:nvSpPr>
          <p:cNvPr id="10" name="流程图: 过程 9">
            <a:extLst>
              <a:ext uri="{FF2B5EF4-FFF2-40B4-BE49-F238E27FC236}">
                <a16:creationId xmlns:a16="http://schemas.microsoft.com/office/drawing/2014/main" id="{6C70781E-981B-43D0-BE35-17688736F6A1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A6F4E9B-9A03-4027-B3B2-6C7A6847BF30}"/>
              </a:ext>
            </a:extLst>
          </p:cNvPr>
          <p:cNvSpPr/>
          <p:nvPr/>
        </p:nvSpPr>
        <p:spPr>
          <a:xfrm>
            <a:off x="744623" y="1565687"/>
            <a:ext cx="34227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XXXX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科技有限公司</a:t>
            </a:r>
            <a:endParaRPr lang="zh-CN" altLang="en-US" sz="2400" dirty="0"/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B32A2911-5C89-46C8-933E-1FA820E9187A}"/>
              </a:ext>
            </a:extLst>
          </p:cNvPr>
          <p:cNvCxnSpPr>
            <a:cxnSpLocks/>
          </p:cNvCxnSpPr>
          <p:nvPr/>
        </p:nvCxnSpPr>
        <p:spPr>
          <a:xfrm>
            <a:off x="645652" y="1577160"/>
            <a:ext cx="0" cy="45019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>
            <a:extLst>
              <a:ext uri="{FF2B5EF4-FFF2-40B4-BE49-F238E27FC236}">
                <a16:creationId xmlns:a16="http://schemas.microsoft.com/office/drawing/2014/main" id="{8C0ABC65-544D-4BF0-863A-D71C5FC7CAED}"/>
              </a:ext>
            </a:extLst>
          </p:cNvPr>
          <p:cNvSpPr/>
          <p:nvPr/>
        </p:nvSpPr>
        <p:spPr>
          <a:xfrm>
            <a:off x="783629" y="2147974"/>
            <a:ext cx="47497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XXXXXXXX Electronic Technology Co., Ltd</a:t>
            </a:r>
            <a:endParaRPr lang="zh-CN" altLang="en-US" dirty="0"/>
          </a:p>
        </p:txBody>
      </p: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46637B0F-B62D-4DFF-86F3-C36AEE981D41}"/>
              </a:ext>
            </a:extLst>
          </p:cNvPr>
          <p:cNvCxnSpPr>
            <a:cxnSpLocks/>
          </p:cNvCxnSpPr>
          <p:nvPr/>
        </p:nvCxnSpPr>
        <p:spPr>
          <a:xfrm>
            <a:off x="646411" y="3049818"/>
            <a:ext cx="0" cy="250257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>
            <a:extLst>
              <a:ext uri="{FF2B5EF4-FFF2-40B4-BE49-F238E27FC236}">
                <a16:creationId xmlns:a16="http://schemas.microsoft.com/office/drawing/2014/main" id="{AAE70801-ECBD-4AF4-BF3A-F05F51901892}"/>
              </a:ext>
            </a:extLst>
          </p:cNvPr>
          <p:cNvSpPr/>
          <p:nvPr/>
        </p:nvSpPr>
        <p:spPr>
          <a:xfrm>
            <a:off x="783629" y="2994207"/>
            <a:ext cx="17812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17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月成立</a:t>
            </a:r>
            <a:endParaRPr lang="zh-CN" altLang="en-US" dirty="0"/>
          </a:p>
        </p:txBody>
      </p:sp>
      <p:sp>
        <p:nvSpPr>
          <p:cNvPr id="31" name="副标题 2">
            <a:extLst>
              <a:ext uri="{FF2B5EF4-FFF2-40B4-BE49-F238E27FC236}">
                <a16:creationId xmlns:a16="http://schemas.microsoft.com/office/drawing/2014/main" id="{F14F3C50-5F6A-4F08-9E46-44606FCB043E}"/>
              </a:ext>
            </a:extLst>
          </p:cNvPr>
          <p:cNvSpPr txBox="1">
            <a:spLocks/>
          </p:cNvSpPr>
          <p:nvPr/>
        </p:nvSpPr>
        <p:spPr>
          <a:xfrm>
            <a:off x="744623" y="4570288"/>
            <a:ext cx="11161828" cy="1588495"/>
          </a:xfrm>
          <a:prstGeom prst="rect">
            <a:avLst/>
          </a:prstGeom>
        </p:spPr>
        <p:txBody>
          <a:bodyPr vert="horz" lIns="91440" tIns="45720" rIns="91440" bIns="45720" rtlCol="0">
            <a:normAutofit fontScale="975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60000"/>
              </a:lnSpc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公司获得国家体育总局以及中国空军的支持，并快速发展成为全国最大无人机竞速行业平台。公司致力于打造无人机竞速联赛品牌。由于无人机竞速赛事独具的高观赏性，传播性的特点，该项赛事迅速成为了无人机行业各大品牌的关注点。通过赛事，各大品牌将展现各自的产品与技术，加快无人机科技进步与发展。此外，X-Fly将带领大量年轻人群进入无人机竞速的领域，在为无人机科技储备大量人才的同时推动年轻人潮流文化的前行。</a:t>
            </a:r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724B7D8F-703B-45D5-9D27-F3DF1C84608C}"/>
              </a:ext>
            </a:extLst>
          </p:cNvPr>
          <p:cNvCxnSpPr>
            <a:cxnSpLocks/>
          </p:cNvCxnSpPr>
          <p:nvPr/>
        </p:nvCxnSpPr>
        <p:spPr>
          <a:xfrm>
            <a:off x="646411" y="4149693"/>
            <a:ext cx="0" cy="266912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>
            <a:extLst>
              <a:ext uri="{FF2B5EF4-FFF2-40B4-BE49-F238E27FC236}">
                <a16:creationId xmlns:a16="http://schemas.microsoft.com/office/drawing/2014/main" id="{3D4A5934-8AF7-4335-BC8E-E95A8FE313BF}"/>
              </a:ext>
            </a:extLst>
          </p:cNvPr>
          <p:cNvSpPr/>
          <p:nvPr/>
        </p:nvSpPr>
        <p:spPr>
          <a:xfrm>
            <a:off x="783629" y="4103707"/>
            <a:ext cx="11849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18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初</a:t>
            </a:r>
            <a:endParaRPr lang="zh-CN" altLang="en-US" dirty="0"/>
          </a:p>
        </p:txBody>
      </p:sp>
      <p:sp>
        <p:nvSpPr>
          <p:cNvPr id="19" name="流程图: 过程 18">
            <a:extLst>
              <a:ext uri="{FF2B5EF4-FFF2-40B4-BE49-F238E27FC236}">
                <a16:creationId xmlns:a16="http://schemas.microsoft.com/office/drawing/2014/main" id="{3177AD23-13F0-4E8A-BC0B-15EF516EDF29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39518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" grpId="0" build="p"/>
      <p:bldP spid="9" grpId="0"/>
      <p:bldP spid="10" grpId="0" animBg="1"/>
      <p:bldP spid="24" grpId="0"/>
      <p:bldP spid="27" grpId="0"/>
      <p:bldP spid="30" grpId="0"/>
      <p:bldP spid="31" grpId="0"/>
      <p:bldP spid="33" grpId="0"/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组合 20">
            <a:extLst>
              <a:ext uri="{FF2B5EF4-FFF2-40B4-BE49-F238E27FC236}">
                <a16:creationId xmlns:a16="http://schemas.microsoft.com/office/drawing/2014/main" id="{6F7873AF-9A8B-4B27-87EE-C115F7C3EA33}"/>
              </a:ext>
            </a:extLst>
          </p:cNvPr>
          <p:cNvGrpSpPr/>
          <p:nvPr/>
        </p:nvGrpSpPr>
        <p:grpSpPr>
          <a:xfrm>
            <a:off x="180473" y="120316"/>
            <a:ext cx="11869666" cy="2357268"/>
            <a:chOff x="180473" y="120316"/>
            <a:chExt cx="11869666" cy="2357268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8EBE3A87-0083-4EC6-9119-1D5B3EE0A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473" y="120316"/>
              <a:ext cx="4490019" cy="2330728"/>
            </a:xfrm>
            <a:prstGeom prst="rect">
              <a:avLst/>
            </a:prstGeom>
          </p:spPr>
        </p:pic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39DC9278-9D49-489F-AE4F-4CFA7C1E8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1422" y="120316"/>
              <a:ext cx="3496091" cy="2330727"/>
            </a:xfrm>
            <a:prstGeom prst="rect">
              <a:avLst/>
            </a:prstGeom>
          </p:spPr>
        </p:pic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7D8EFB16-918F-4D41-A0AE-68E690291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8444" y="120316"/>
              <a:ext cx="3741695" cy="2357268"/>
            </a:xfrm>
            <a:prstGeom prst="rect">
              <a:avLst/>
            </a:prstGeom>
          </p:spPr>
        </p:pic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BBE926A9-F2CE-41E4-AB7F-496D36A66BD5}"/>
              </a:ext>
            </a:extLst>
          </p:cNvPr>
          <p:cNvSpPr txBox="1"/>
          <p:nvPr/>
        </p:nvSpPr>
        <p:spPr>
          <a:xfrm>
            <a:off x="6312820" y="4188674"/>
            <a:ext cx="2302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2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30E41C2-0DE8-4152-AA33-D738C5D30FFA}"/>
              </a:ext>
            </a:extLst>
          </p:cNvPr>
          <p:cNvSpPr txBox="1"/>
          <p:nvPr/>
        </p:nvSpPr>
        <p:spPr>
          <a:xfrm>
            <a:off x="6312820" y="5013190"/>
            <a:ext cx="162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赛事简介</a:t>
            </a:r>
          </a:p>
        </p:txBody>
      </p:sp>
      <p:sp>
        <p:nvSpPr>
          <p:cNvPr id="20" name="流程图: 过程 19">
            <a:extLst>
              <a:ext uri="{FF2B5EF4-FFF2-40B4-BE49-F238E27FC236}">
                <a16:creationId xmlns:a16="http://schemas.microsoft.com/office/drawing/2014/main" id="{244BD30B-9070-4C6C-B9DA-0C4E93E091CA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4ED5BEE9-383A-4C89-8248-E2814885AC97}"/>
              </a:ext>
            </a:extLst>
          </p:cNvPr>
          <p:cNvGrpSpPr/>
          <p:nvPr/>
        </p:nvGrpSpPr>
        <p:grpSpPr>
          <a:xfrm>
            <a:off x="3687166" y="3866294"/>
            <a:ext cx="1947600" cy="1947600"/>
            <a:chOff x="8016509" y="2624163"/>
            <a:chExt cx="1291814" cy="1291814"/>
          </a:xfrm>
        </p:grpSpPr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3742A313-42D0-4C18-9FC7-3D353DF04CF4}"/>
                </a:ext>
              </a:extLst>
            </p:cNvPr>
            <p:cNvSpPr/>
            <p:nvPr/>
          </p:nvSpPr>
          <p:spPr>
            <a:xfrm>
              <a:off x="8156448" y="2756916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4" name="空心弧 23">
              <a:extLst>
                <a:ext uri="{FF2B5EF4-FFF2-40B4-BE49-F238E27FC236}">
                  <a16:creationId xmlns:a16="http://schemas.microsoft.com/office/drawing/2014/main" id="{98315517-AD93-467B-9E77-28D89BAAC804}"/>
                </a:ext>
              </a:extLst>
            </p:cNvPr>
            <p:cNvSpPr/>
            <p:nvPr/>
          </p:nvSpPr>
          <p:spPr>
            <a:xfrm rot="5118468">
              <a:off x="8016509" y="2624163"/>
              <a:ext cx="1291814" cy="1291814"/>
            </a:xfrm>
            <a:prstGeom prst="blockArc">
              <a:avLst>
                <a:gd name="adj1" fmla="val 5956882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9C355BFF-16AF-4515-8654-7BDD68D779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5914" y="2869232"/>
              <a:ext cx="773004" cy="7730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1812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E04D5C66-39C2-468B-8E1B-81CB2A801EAA}"/>
              </a:ext>
            </a:extLst>
          </p:cNvPr>
          <p:cNvSpPr txBox="1"/>
          <p:nvPr/>
        </p:nvSpPr>
        <p:spPr>
          <a:xfrm>
            <a:off x="1071953" y="152481"/>
            <a:ext cx="3223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赛事简介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9C31544-CA9A-4760-971B-743C99464AC6}"/>
              </a:ext>
            </a:extLst>
          </p:cNvPr>
          <p:cNvGrpSpPr/>
          <p:nvPr/>
        </p:nvGrpSpPr>
        <p:grpSpPr>
          <a:xfrm>
            <a:off x="289749" y="153474"/>
            <a:ext cx="712800" cy="712800"/>
            <a:chOff x="8016509" y="2624163"/>
            <a:chExt cx="1291814" cy="1291814"/>
          </a:xfrm>
        </p:grpSpPr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E249EED5-8FB1-434C-B8A4-CD4707E6059D}"/>
                </a:ext>
              </a:extLst>
            </p:cNvPr>
            <p:cNvSpPr/>
            <p:nvPr/>
          </p:nvSpPr>
          <p:spPr>
            <a:xfrm>
              <a:off x="8156448" y="2756916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7" name="空心弧 6">
              <a:extLst>
                <a:ext uri="{FF2B5EF4-FFF2-40B4-BE49-F238E27FC236}">
                  <a16:creationId xmlns:a16="http://schemas.microsoft.com/office/drawing/2014/main" id="{26FE7354-73C7-4EB8-971D-33D4E63CC8BC}"/>
                </a:ext>
              </a:extLst>
            </p:cNvPr>
            <p:cNvSpPr/>
            <p:nvPr/>
          </p:nvSpPr>
          <p:spPr>
            <a:xfrm rot="5118468">
              <a:off x="8016509" y="2624163"/>
              <a:ext cx="1291814" cy="1291814"/>
            </a:xfrm>
            <a:prstGeom prst="blockArc">
              <a:avLst>
                <a:gd name="adj1" fmla="val 5956882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1C815C2E-35EC-435E-B9B8-EF36D5707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5914" y="2869232"/>
              <a:ext cx="773004" cy="773004"/>
            </a:xfrm>
            <a:prstGeom prst="rect">
              <a:avLst/>
            </a:prstGeom>
          </p:spPr>
        </p:pic>
      </p:grpSp>
      <p:sp>
        <p:nvSpPr>
          <p:cNvPr id="9" name="流程图: 过程 8">
            <a:extLst>
              <a:ext uri="{FF2B5EF4-FFF2-40B4-BE49-F238E27FC236}">
                <a16:creationId xmlns:a16="http://schemas.microsoft.com/office/drawing/2014/main" id="{BAE55E0B-BB20-472D-B314-F5889AE38F1D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0" name="流程图: 过程 9">
            <a:extLst>
              <a:ext uri="{FF2B5EF4-FFF2-40B4-BE49-F238E27FC236}">
                <a16:creationId xmlns:a16="http://schemas.microsoft.com/office/drawing/2014/main" id="{431D37CE-C5B1-449C-8CEE-F26454329447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52" name="形状">
            <a:extLst>
              <a:ext uri="{FF2B5EF4-FFF2-40B4-BE49-F238E27FC236}">
                <a16:creationId xmlns:a16="http://schemas.microsoft.com/office/drawing/2014/main" id="{62ECF8D2-E2E3-45DF-888D-9D376E47835C}"/>
              </a:ext>
            </a:extLst>
          </p:cNvPr>
          <p:cNvGrpSpPr/>
          <p:nvPr/>
        </p:nvGrpSpPr>
        <p:grpSpPr>
          <a:xfrm>
            <a:off x="817024" y="2175257"/>
            <a:ext cx="577055" cy="0"/>
            <a:chOff x="784958" y="2463718"/>
            <a:chExt cx="528630" cy="0"/>
          </a:xfrm>
        </p:grpSpPr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A1002095-41ED-42D3-B7FC-C5D34D2629BB}"/>
                </a:ext>
              </a:extLst>
            </p:cNvPr>
            <p:cNvCxnSpPr/>
            <p:nvPr/>
          </p:nvCxnSpPr>
          <p:spPr>
            <a:xfrm>
              <a:off x="784958" y="2463718"/>
              <a:ext cx="360000" cy="0"/>
            </a:xfrm>
            <a:prstGeom prst="line">
              <a:avLst/>
            </a:prstGeom>
            <a:ln w="57150" cap="rnd">
              <a:solidFill>
                <a:srgbClr val="1D539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连接符 55">
              <a:extLst>
                <a:ext uri="{FF2B5EF4-FFF2-40B4-BE49-F238E27FC236}">
                  <a16:creationId xmlns:a16="http://schemas.microsoft.com/office/drawing/2014/main" id="{BFE7CE43-CB77-4691-B221-4C5126FDB189}"/>
                </a:ext>
              </a:extLst>
            </p:cNvPr>
            <p:cNvCxnSpPr/>
            <p:nvPr/>
          </p:nvCxnSpPr>
          <p:spPr>
            <a:xfrm>
              <a:off x="1242156" y="2463718"/>
              <a:ext cx="0" cy="0"/>
            </a:xfrm>
            <a:prstGeom prst="line">
              <a:avLst/>
            </a:prstGeom>
            <a:ln w="57150" cap="rnd">
              <a:solidFill>
                <a:srgbClr val="1D539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接连接符 56">
              <a:extLst>
                <a:ext uri="{FF2B5EF4-FFF2-40B4-BE49-F238E27FC236}">
                  <a16:creationId xmlns:a16="http://schemas.microsoft.com/office/drawing/2014/main" id="{93CAD011-834C-4B7A-BDE1-9087679A8026}"/>
                </a:ext>
              </a:extLst>
            </p:cNvPr>
            <p:cNvCxnSpPr/>
            <p:nvPr/>
          </p:nvCxnSpPr>
          <p:spPr>
            <a:xfrm>
              <a:off x="1313588" y="2463718"/>
              <a:ext cx="0" cy="0"/>
            </a:xfrm>
            <a:prstGeom prst="line">
              <a:avLst/>
            </a:prstGeom>
            <a:ln w="57150" cap="rnd">
              <a:solidFill>
                <a:srgbClr val="1D539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文本框">
            <a:extLst>
              <a:ext uri="{FF2B5EF4-FFF2-40B4-BE49-F238E27FC236}">
                <a16:creationId xmlns:a16="http://schemas.microsoft.com/office/drawing/2014/main" id="{25AE6077-712A-4E8D-8829-BB856AF9DF96}"/>
              </a:ext>
            </a:extLst>
          </p:cNvPr>
          <p:cNvSpPr/>
          <p:nvPr/>
        </p:nvSpPr>
        <p:spPr bwMode="auto">
          <a:xfrm>
            <a:off x="682655" y="2332671"/>
            <a:ext cx="4452281" cy="3444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无人机竞速运动首次出现于2014年初，是一项集聚科技，体育与教育的新兴运动，并通过Youtube上的无人机竞速视频在短短数月时间内传播开来，并发展壮大。该项运动在世界范围内逐步升温，X-Fly作为国内唯一原创赛事品牌，依托在行业内的口碑和实力，结合国家对加快体育产业的政策扶持，运用大数据及互联网平台，并结合赛事运作经验，目标是打造全球最规范，最权威，也最具影响力的商业化无人机竞速赛事。目前，X-Fly是亚洲唯一无人机联赛IP，同时拥有数十万垂直无人机竞速爱好者社区用户。且已举办国内规模最大无人机竞速公开赛。同时，X-Fly也在研发无人机竞速入门套件，帮助新手及高校学生入门与成长。</a:t>
            </a:r>
          </a:p>
        </p:txBody>
      </p:sp>
      <p:sp>
        <p:nvSpPr>
          <p:cNvPr id="54" name="文本框">
            <a:extLst>
              <a:ext uri="{FF2B5EF4-FFF2-40B4-BE49-F238E27FC236}">
                <a16:creationId xmlns:a16="http://schemas.microsoft.com/office/drawing/2014/main" id="{F6C0B8BD-8162-4FCA-B7AC-235FD87189C5}"/>
              </a:ext>
            </a:extLst>
          </p:cNvPr>
          <p:cNvSpPr txBox="1"/>
          <p:nvPr/>
        </p:nvSpPr>
        <p:spPr>
          <a:xfrm>
            <a:off x="682655" y="1552609"/>
            <a:ext cx="4452281" cy="5406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zh-CN" altLang="en-US" sz="2400" b="1" dirty="0">
                <a:cs typeface="+mn-ea"/>
                <a:sym typeface="+mn-lt"/>
              </a:rPr>
              <a:t>无人机竞速  </a:t>
            </a:r>
            <a:r>
              <a:rPr lang="en-US" sz="2400" b="1" dirty="0">
                <a:cs typeface="+mn-ea"/>
                <a:sym typeface="+mn-lt"/>
              </a:rPr>
              <a:t>UAV  race </a:t>
            </a: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63CB2F26-FA9C-46AC-8078-FDBD120224D1}"/>
              </a:ext>
            </a:extLst>
          </p:cNvPr>
          <p:cNvGrpSpPr/>
          <p:nvPr/>
        </p:nvGrpSpPr>
        <p:grpSpPr>
          <a:xfrm>
            <a:off x="5674943" y="1682576"/>
            <a:ext cx="6242874" cy="4452254"/>
            <a:chOff x="5674943" y="1682576"/>
            <a:chExt cx="6242874" cy="4452254"/>
          </a:xfrm>
        </p:grpSpPr>
        <p:sp>
          <p:nvSpPr>
            <p:cNvPr id="12" name="形状">
              <a:extLst>
                <a:ext uri="{FF2B5EF4-FFF2-40B4-BE49-F238E27FC236}">
                  <a16:creationId xmlns:a16="http://schemas.microsoft.com/office/drawing/2014/main" id="{9C812237-D4D5-45BB-A78E-8C638E2FA32E}"/>
                </a:ext>
              </a:extLst>
            </p:cNvPr>
            <p:cNvSpPr/>
            <p:nvPr/>
          </p:nvSpPr>
          <p:spPr>
            <a:xfrm>
              <a:off x="5674943" y="1682576"/>
              <a:ext cx="6242874" cy="44522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6" name="组合 75">
              <a:extLst>
                <a:ext uri="{FF2B5EF4-FFF2-40B4-BE49-F238E27FC236}">
                  <a16:creationId xmlns:a16="http://schemas.microsoft.com/office/drawing/2014/main" id="{159C47C6-1670-46D0-AC5B-F467AB363EB4}"/>
                </a:ext>
              </a:extLst>
            </p:cNvPr>
            <p:cNvGrpSpPr/>
            <p:nvPr/>
          </p:nvGrpSpPr>
          <p:grpSpPr>
            <a:xfrm>
              <a:off x="5882051" y="2745754"/>
              <a:ext cx="2914329" cy="514670"/>
              <a:chOff x="5882051" y="2745754"/>
              <a:chExt cx="2914329" cy="514670"/>
            </a:xfrm>
          </p:grpSpPr>
          <p:sp>
            <p:nvSpPr>
              <p:cNvPr id="40" name="文本框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5882051" y="2745754"/>
                <a:ext cx="2385376" cy="5146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微软雅黑" panose="020B0503020204020204" pitchFamily="34" charset="-122"/>
                  </a:rPr>
                  <a:t>无人机竞速国际联赛</a:t>
                </a:r>
                <a:endParaRPr lang="en-US" altLang="zh-CN" sz="1400" dirty="0"/>
              </a:p>
            </p:txBody>
          </p:sp>
          <p:sp>
            <p:nvSpPr>
              <p:cNvPr id="42" name="形状">
                <a:extLst>
                  <a:ext uri="{FF2B5EF4-FFF2-40B4-BE49-F238E27FC236}">
                    <a16:creationId xmlns:a16="http://schemas.microsoft.com/office/drawing/2014/main" id="{D486B5E5-5B91-4D8C-95BE-EBF98500208E}"/>
                  </a:ext>
                </a:extLst>
              </p:cNvPr>
              <p:cNvSpPr/>
              <p:nvPr/>
            </p:nvSpPr>
            <p:spPr>
              <a:xfrm>
                <a:off x="8358665" y="2784232"/>
                <a:ext cx="437715" cy="437715"/>
              </a:xfrm>
              <a:prstGeom prst="ellipse">
                <a:avLst/>
              </a:prstGeom>
              <a:solidFill>
                <a:srgbClr val="1D5394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图片">
                <a:extLst>
                  <a:ext uri="{FF2B5EF4-FFF2-40B4-BE49-F238E27FC236}">
                    <a16:creationId xmlns:a16="http://schemas.microsoft.com/office/drawing/2014/main" id="{03455C8C-430D-440E-BDD2-6AE004BDD2BD}"/>
                  </a:ext>
                </a:extLst>
              </p:cNvPr>
              <p:cNvSpPr/>
              <p:nvPr/>
            </p:nvSpPr>
            <p:spPr>
              <a:xfrm>
                <a:off x="8446245" y="2872012"/>
                <a:ext cx="262554" cy="262157"/>
              </a:xfrm>
              <a:custGeom>
                <a:avLst/>
                <a:gdLst>
                  <a:gd name="connsiteX0" fmla="*/ 303820 w 607639"/>
                  <a:gd name="connsiteY0" fmla="*/ 480269 h 606722"/>
                  <a:gd name="connsiteX1" fmla="*/ 329118 w 607639"/>
                  <a:gd name="connsiteY1" fmla="*/ 505567 h 606722"/>
                  <a:gd name="connsiteX2" fmla="*/ 303820 w 607639"/>
                  <a:gd name="connsiteY2" fmla="*/ 530865 h 606722"/>
                  <a:gd name="connsiteX3" fmla="*/ 278522 w 607639"/>
                  <a:gd name="connsiteY3" fmla="*/ 505567 h 606722"/>
                  <a:gd name="connsiteX4" fmla="*/ 303820 w 607639"/>
                  <a:gd name="connsiteY4" fmla="*/ 480269 h 606722"/>
                  <a:gd name="connsiteX5" fmla="*/ 253131 w 607639"/>
                  <a:gd name="connsiteY5" fmla="*/ 455019 h 606722"/>
                  <a:gd name="connsiteX6" fmla="*/ 253131 w 607639"/>
                  <a:gd name="connsiteY6" fmla="*/ 556154 h 606722"/>
                  <a:gd name="connsiteX7" fmla="*/ 354419 w 607639"/>
                  <a:gd name="connsiteY7" fmla="*/ 556154 h 606722"/>
                  <a:gd name="connsiteX8" fmla="*/ 354419 w 607639"/>
                  <a:gd name="connsiteY8" fmla="*/ 455019 h 606722"/>
                  <a:gd name="connsiteX9" fmla="*/ 228299 w 607639"/>
                  <a:gd name="connsiteY9" fmla="*/ 202270 h 606722"/>
                  <a:gd name="connsiteX10" fmla="*/ 228299 w 607639"/>
                  <a:gd name="connsiteY10" fmla="*/ 252482 h 606722"/>
                  <a:gd name="connsiteX11" fmla="*/ 228299 w 607639"/>
                  <a:gd name="connsiteY11" fmla="*/ 252749 h 606722"/>
                  <a:gd name="connsiteX12" fmla="*/ 228299 w 607639"/>
                  <a:gd name="connsiteY12" fmla="*/ 303317 h 606722"/>
                  <a:gd name="connsiteX13" fmla="*/ 380231 w 607639"/>
                  <a:gd name="connsiteY13" fmla="*/ 303317 h 606722"/>
                  <a:gd name="connsiteX14" fmla="*/ 380231 w 607639"/>
                  <a:gd name="connsiteY14" fmla="*/ 202270 h 606722"/>
                  <a:gd name="connsiteX15" fmla="*/ 510267 w 607639"/>
                  <a:gd name="connsiteY15" fmla="*/ 151703 h 606722"/>
                  <a:gd name="connsiteX16" fmla="*/ 506351 w 607639"/>
                  <a:gd name="connsiteY16" fmla="*/ 155613 h 606722"/>
                  <a:gd name="connsiteX17" fmla="*/ 506351 w 607639"/>
                  <a:gd name="connsiteY17" fmla="*/ 324734 h 606722"/>
                  <a:gd name="connsiteX18" fmla="*/ 510267 w 607639"/>
                  <a:gd name="connsiteY18" fmla="*/ 328645 h 606722"/>
                  <a:gd name="connsiteX19" fmla="*/ 553079 w 607639"/>
                  <a:gd name="connsiteY19" fmla="*/ 328645 h 606722"/>
                  <a:gd name="connsiteX20" fmla="*/ 556995 w 607639"/>
                  <a:gd name="connsiteY20" fmla="*/ 324734 h 606722"/>
                  <a:gd name="connsiteX21" fmla="*/ 556995 w 607639"/>
                  <a:gd name="connsiteY21" fmla="*/ 155613 h 606722"/>
                  <a:gd name="connsiteX22" fmla="*/ 553079 w 607639"/>
                  <a:gd name="connsiteY22" fmla="*/ 151703 h 606722"/>
                  <a:gd name="connsiteX23" fmla="*/ 54560 w 607639"/>
                  <a:gd name="connsiteY23" fmla="*/ 151703 h 606722"/>
                  <a:gd name="connsiteX24" fmla="*/ 50644 w 607639"/>
                  <a:gd name="connsiteY24" fmla="*/ 155613 h 606722"/>
                  <a:gd name="connsiteX25" fmla="*/ 50644 w 607639"/>
                  <a:gd name="connsiteY25" fmla="*/ 324734 h 606722"/>
                  <a:gd name="connsiteX26" fmla="*/ 54560 w 607639"/>
                  <a:gd name="connsiteY26" fmla="*/ 328645 h 606722"/>
                  <a:gd name="connsiteX27" fmla="*/ 97372 w 607639"/>
                  <a:gd name="connsiteY27" fmla="*/ 328645 h 606722"/>
                  <a:gd name="connsiteX28" fmla="*/ 101288 w 607639"/>
                  <a:gd name="connsiteY28" fmla="*/ 324734 h 606722"/>
                  <a:gd name="connsiteX29" fmla="*/ 101288 w 607639"/>
                  <a:gd name="connsiteY29" fmla="*/ 202537 h 606722"/>
                  <a:gd name="connsiteX30" fmla="*/ 101288 w 607639"/>
                  <a:gd name="connsiteY30" fmla="*/ 202359 h 606722"/>
                  <a:gd name="connsiteX31" fmla="*/ 101288 w 607639"/>
                  <a:gd name="connsiteY31" fmla="*/ 155613 h 606722"/>
                  <a:gd name="connsiteX32" fmla="*/ 97372 w 607639"/>
                  <a:gd name="connsiteY32" fmla="*/ 151703 h 606722"/>
                  <a:gd name="connsiteX33" fmla="*/ 25277 w 607639"/>
                  <a:gd name="connsiteY33" fmla="*/ 0 h 606722"/>
                  <a:gd name="connsiteX34" fmla="*/ 126566 w 607639"/>
                  <a:gd name="connsiteY34" fmla="*/ 0 h 606722"/>
                  <a:gd name="connsiteX35" fmla="*/ 151932 w 607639"/>
                  <a:gd name="connsiteY35" fmla="*/ 25239 h 606722"/>
                  <a:gd name="connsiteX36" fmla="*/ 126566 w 607639"/>
                  <a:gd name="connsiteY36" fmla="*/ 50568 h 606722"/>
                  <a:gd name="connsiteX37" fmla="*/ 101288 w 607639"/>
                  <a:gd name="connsiteY37" fmla="*/ 50568 h 606722"/>
                  <a:gd name="connsiteX38" fmla="*/ 101288 w 607639"/>
                  <a:gd name="connsiteY38" fmla="*/ 101313 h 606722"/>
                  <a:gd name="connsiteX39" fmla="*/ 151932 w 607639"/>
                  <a:gd name="connsiteY39" fmla="*/ 155613 h 606722"/>
                  <a:gd name="connsiteX40" fmla="*/ 151932 w 607639"/>
                  <a:gd name="connsiteY40" fmla="*/ 188673 h 606722"/>
                  <a:gd name="connsiteX41" fmla="*/ 177744 w 607639"/>
                  <a:gd name="connsiteY41" fmla="*/ 205736 h 606722"/>
                  <a:gd name="connsiteX42" fmla="*/ 177744 w 607639"/>
                  <a:gd name="connsiteY42" fmla="*/ 176942 h 606722"/>
                  <a:gd name="connsiteX43" fmla="*/ 203021 w 607639"/>
                  <a:gd name="connsiteY43" fmla="*/ 151703 h 606722"/>
                  <a:gd name="connsiteX44" fmla="*/ 405597 w 607639"/>
                  <a:gd name="connsiteY44" fmla="*/ 151703 h 606722"/>
                  <a:gd name="connsiteX45" fmla="*/ 430875 w 607639"/>
                  <a:gd name="connsiteY45" fmla="*/ 176942 h 606722"/>
                  <a:gd name="connsiteX46" fmla="*/ 430875 w 607639"/>
                  <a:gd name="connsiteY46" fmla="*/ 205381 h 606722"/>
                  <a:gd name="connsiteX47" fmla="*/ 455707 w 607639"/>
                  <a:gd name="connsiteY47" fmla="*/ 188762 h 606722"/>
                  <a:gd name="connsiteX48" fmla="*/ 455707 w 607639"/>
                  <a:gd name="connsiteY48" fmla="*/ 155613 h 606722"/>
                  <a:gd name="connsiteX49" fmla="*/ 506351 w 607639"/>
                  <a:gd name="connsiteY49" fmla="*/ 101313 h 606722"/>
                  <a:gd name="connsiteX50" fmla="*/ 506351 w 607639"/>
                  <a:gd name="connsiteY50" fmla="*/ 50568 h 606722"/>
                  <a:gd name="connsiteX51" fmla="*/ 480984 w 607639"/>
                  <a:gd name="connsiteY51" fmla="*/ 50568 h 606722"/>
                  <a:gd name="connsiteX52" fmla="*/ 455707 w 607639"/>
                  <a:gd name="connsiteY52" fmla="*/ 25239 h 606722"/>
                  <a:gd name="connsiteX53" fmla="*/ 480984 w 607639"/>
                  <a:gd name="connsiteY53" fmla="*/ 0 h 606722"/>
                  <a:gd name="connsiteX54" fmla="*/ 582272 w 607639"/>
                  <a:gd name="connsiteY54" fmla="*/ 0 h 606722"/>
                  <a:gd name="connsiteX55" fmla="*/ 607639 w 607639"/>
                  <a:gd name="connsiteY55" fmla="*/ 25239 h 606722"/>
                  <a:gd name="connsiteX56" fmla="*/ 582272 w 607639"/>
                  <a:gd name="connsiteY56" fmla="*/ 50568 h 606722"/>
                  <a:gd name="connsiteX57" fmla="*/ 556995 w 607639"/>
                  <a:gd name="connsiteY57" fmla="*/ 50568 h 606722"/>
                  <a:gd name="connsiteX58" fmla="*/ 556995 w 607639"/>
                  <a:gd name="connsiteY58" fmla="*/ 101313 h 606722"/>
                  <a:gd name="connsiteX59" fmla="*/ 607639 w 607639"/>
                  <a:gd name="connsiteY59" fmla="*/ 155613 h 606722"/>
                  <a:gd name="connsiteX60" fmla="*/ 607639 w 607639"/>
                  <a:gd name="connsiteY60" fmla="*/ 324734 h 606722"/>
                  <a:gd name="connsiteX61" fmla="*/ 553079 w 607639"/>
                  <a:gd name="connsiteY61" fmla="*/ 379212 h 606722"/>
                  <a:gd name="connsiteX62" fmla="*/ 510267 w 607639"/>
                  <a:gd name="connsiteY62" fmla="*/ 379212 h 606722"/>
                  <a:gd name="connsiteX63" fmla="*/ 455707 w 607639"/>
                  <a:gd name="connsiteY63" fmla="*/ 324734 h 606722"/>
                  <a:gd name="connsiteX64" fmla="*/ 455707 w 607639"/>
                  <a:gd name="connsiteY64" fmla="*/ 249639 h 606722"/>
                  <a:gd name="connsiteX65" fmla="*/ 430875 w 607639"/>
                  <a:gd name="connsiteY65" fmla="*/ 266257 h 606722"/>
                  <a:gd name="connsiteX66" fmla="*/ 430875 w 607639"/>
                  <a:gd name="connsiteY66" fmla="*/ 328645 h 606722"/>
                  <a:gd name="connsiteX67" fmla="*/ 472885 w 607639"/>
                  <a:gd name="connsiteY67" fmla="*/ 397431 h 606722"/>
                  <a:gd name="connsiteX68" fmla="*/ 481697 w 607639"/>
                  <a:gd name="connsiteY68" fmla="*/ 477681 h 606722"/>
                  <a:gd name="connsiteX69" fmla="*/ 481430 w 607639"/>
                  <a:gd name="connsiteY69" fmla="*/ 482569 h 606722"/>
                  <a:gd name="connsiteX70" fmla="*/ 453927 w 607639"/>
                  <a:gd name="connsiteY70" fmla="*/ 505498 h 606722"/>
                  <a:gd name="connsiteX71" fmla="*/ 430964 w 607639"/>
                  <a:gd name="connsiteY71" fmla="*/ 478037 h 606722"/>
                  <a:gd name="connsiteX72" fmla="*/ 431142 w 607639"/>
                  <a:gd name="connsiteY72" fmla="*/ 475193 h 606722"/>
                  <a:gd name="connsiteX73" fmla="*/ 424288 w 607639"/>
                  <a:gd name="connsiteY73" fmla="*/ 411473 h 606722"/>
                  <a:gd name="connsiteX74" fmla="*/ 354953 w 607639"/>
                  <a:gd name="connsiteY74" fmla="*/ 353884 h 606722"/>
                  <a:gd name="connsiteX75" fmla="*/ 329498 w 607639"/>
                  <a:gd name="connsiteY75" fmla="*/ 353884 h 606722"/>
                  <a:gd name="connsiteX76" fmla="*/ 329230 w 607639"/>
                  <a:gd name="connsiteY76" fmla="*/ 404452 h 606722"/>
                  <a:gd name="connsiteX77" fmla="*/ 379786 w 607639"/>
                  <a:gd name="connsiteY77" fmla="*/ 404452 h 606722"/>
                  <a:gd name="connsiteX78" fmla="*/ 405063 w 607639"/>
                  <a:gd name="connsiteY78" fmla="*/ 429780 h 606722"/>
                  <a:gd name="connsiteX79" fmla="*/ 405063 w 607639"/>
                  <a:gd name="connsiteY79" fmla="*/ 581394 h 606722"/>
                  <a:gd name="connsiteX80" fmla="*/ 379786 w 607639"/>
                  <a:gd name="connsiteY80" fmla="*/ 606722 h 606722"/>
                  <a:gd name="connsiteX81" fmla="*/ 227854 w 607639"/>
                  <a:gd name="connsiteY81" fmla="*/ 606722 h 606722"/>
                  <a:gd name="connsiteX82" fmla="*/ 202576 w 607639"/>
                  <a:gd name="connsiteY82" fmla="*/ 581394 h 606722"/>
                  <a:gd name="connsiteX83" fmla="*/ 202576 w 607639"/>
                  <a:gd name="connsiteY83" fmla="*/ 429780 h 606722"/>
                  <a:gd name="connsiteX84" fmla="*/ 227854 w 607639"/>
                  <a:gd name="connsiteY84" fmla="*/ 404452 h 606722"/>
                  <a:gd name="connsiteX85" fmla="*/ 278586 w 607639"/>
                  <a:gd name="connsiteY85" fmla="*/ 404452 h 606722"/>
                  <a:gd name="connsiteX86" fmla="*/ 278854 w 607639"/>
                  <a:gd name="connsiteY86" fmla="*/ 353884 h 606722"/>
                  <a:gd name="connsiteX87" fmla="*/ 253665 w 607639"/>
                  <a:gd name="connsiteY87" fmla="*/ 353884 h 606722"/>
                  <a:gd name="connsiteX88" fmla="*/ 184330 w 607639"/>
                  <a:gd name="connsiteY88" fmla="*/ 411473 h 606722"/>
                  <a:gd name="connsiteX89" fmla="*/ 177388 w 607639"/>
                  <a:gd name="connsiteY89" fmla="*/ 475193 h 606722"/>
                  <a:gd name="connsiteX90" fmla="*/ 177566 w 607639"/>
                  <a:gd name="connsiteY90" fmla="*/ 478037 h 606722"/>
                  <a:gd name="connsiteX91" fmla="*/ 154602 w 607639"/>
                  <a:gd name="connsiteY91" fmla="*/ 505498 h 606722"/>
                  <a:gd name="connsiteX92" fmla="*/ 127189 w 607639"/>
                  <a:gd name="connsiteY92" fmla="*/ 482569 h 606722"/>
                  <a:gd name="connsiteX93" fmla="*/ 126833 w 607639"/>
                  <a:gd name="connsiteY93" fmla="*/ 477681 h 606722"/>
                  <a:gd name="connsiteX94" fmla="*/ 135644 w 607639"/>
                  <a:gd name="connsiteY94" fmla="*/ 397431 h 606722"/>
                  <a:gd name="connsiteX95" fmla="*/ 177744 w 607639"/>
                  <a:gd name="connsiteY95" fmla="*/ 328645 h 606722"/>
                  <a:gd name="connsiteX96" fmla="*/ 177744 w 607639"/>
                  <a:gd name="connsiteY96" fmla="*/ 266346 h 606722"/>
                  <a:gd name="connsiteX97" fmla="*/ 151932 w 607639"/>
                  <a:gd name="connsiteY97" fmla="*/ 249283 h 606722"/>
                  <a:gd name="connsiteX98" fmla="*/ 151932 w 607639"/>
                  <a:gd name="connsiteY98" fmla="*/ 324734 h 606722"/>
                  <a:gd name="connsiteX99" fmla="*/ 97372 w 607639"/>
                  <a:gd name="connsiteY99" fmla="*/ 379212 h 606722"/>
                  <a:gd name="connsiteX100" fmla="*/ 54560 w 607639"/>
                  <a:gd name="connsiteY100" fmla="*/ 379212 h 606722"/>
                  <a:gd name="connsiteX101" fmla="*/ 0 w 607639"/>
                  <a:gd name="connsiteY101" fmla="*/ 324734 h 606722"/>
                  <a:gd name="connsiteX102" fmla="*/ 0 w 607639"/>
                  <a:gd name="connsiteY102" fmla="*/ 155613 h 606722"/>
                  <a:gd name="connsiteX103" fmla="*/ 50644 w 607639"/>
                  <a:gd name="connsiteY103" fmla="*/ 101313 h 606722"/>
                  <a:gd name="connsiteX104" fmla="*/ 50644 w 607639"/>
                  <a:gd name="connsiteY104" fmla="*/ 50568 h 606722"/>
                  <a:gd name="connsiteX105" fmla="*/ 25277 w 607639"/>
                  <a:gd name="connsiteY105" fmla="*/ 50568 h 606722"/>
                  <a:gd name="connsiteX106" fmla="*/ 0 w 607639"/>
                  <a:gd name="connsiteY106" fmla="*/ 25239 h 606722"/>
                  <a:gd name="connsiteX107" fmla="*/ 25277 w 607639"/>
                  <a:gd name="connsiteY10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607639" h="606722">
                    <a:moveTo>
                      <a:pt x="303820" y="480269"/>
                    </a:moveTo>
                    <a:cubicBezTo>
                      <a:pt x="317792" y="480269"/>
                      <a:pt x="329118" y="491595"/>
                      <a:pt x="329118" y="505567"/>
                    </a:cubicBezTo>
                    <a:cubicBezTo>
                      <a:pt x="329118" y="519539"/>
                      <a:pt x="317792" y="530865"/>
                      <a:pt x="303820" y="530865"/>
                    </a:cubicBezTo>
                    <a:cubicBezTo>
                      <a:pt x="289848" y="530865"/>
                      <a:pt x="278522" y="519539"/>
                      <a:pt x="278522" y="505567"/>
                    </a:cubicBezTo>
                    <a:cubicBezTo>
                      <a:pt x="278522" y="491595"/>
                      <a:pt x="289848" y="480269"/>
                      <a:pt x="303820" y="480269"/>
                    </a:cubicBezTo>
                    <a:close/>
                    <a:moveTo>
                      <a:pt x="253131" y="455019"/>
                    </a:moveTo>
                    <a:lnTo>
                      <a:pt x="253131" y="556154"/>
                    </a:lnTo>
                    <a:lnTo>
                      <a:pt x="354419" y="556154"/>
                    </a:lnTo>
                    <a:lnTo>
                      <a:pt x="354419" y="455019"/>
                    </a:lnTo>
                    <a:close/>
                    <a:moveTo>
                      <a:pt x="228299" y="202270"/>
                    </a:moveTo>
                    <a:lnTo>
                      <a:pt x="228299" y="252482"/>
                    </a:lnTo>
                    <a:cubicBezTo>
                      <a:pt x="228299" y="252571"/>
                      <a:pt x="228299" y="252660"/>
                      <a:pt x="228299" y="252749"/>
                    </a:cubicBezTo>
                    <a:lnTo>
                      <a:pt x="228299" y="303317"/>
                    </a:lnTo>
                    <a:lnTo>
                      <a:pt x="380231" y="303317"/>
                    </a:lnTo>
                    <a:lnTo>
                      <a:pt x="380231" y="202270"/>
                    </a:lnTo>
                    <a:close/>
                    <a:moveTo>
                      <a:pt x="510267" y="151703"/>
                    </a:moveTo>
                    <a:cubicBezTo>
                      <a:pt x="508131" y="151703"/>
                      <a:pt x="506351" y="153391"/>
                      <a:pt x="506351" y="155613"/>
                    </a:cubicBezTo>
                    <a:lnTo>
                      <a:pt x="506351" y="324734"/>
                    </a:lnTo>
                    <a:cubicBezTo>
                      <a:pt x="506351" y="326867"/>
                      <a:pt x="508131" y="328645"/>
                      <a:pt x="510267" y="328645"/>
                    </a:cubicBezTo>
                    <a:lnTo>
                      <a:pt x="553079" y="328645"/>
                    </a:lnTo>
                    <a:cubicBezTo>
                      <a:pt x="555215" y="328645"/>
                      <a:pt x="556995" y="326867"/>
                      <a:pt x="556995" y="324734"/>
                    </a:cubicBezTo>
                    <a:lnTo>
                      <a:pt x="556995" y="155613"/>
                    </a:lnTo>
                    <a:cubicBezTo>
                      <a:pt x="556995" y="153391"/>
                      <a:pt x="555215" y="151703"/>
                      <a:pt x="553079" y="151703"/>
                    </a:cubicBezTo>
                    <a:close/>
                    <a:moveTo>
                      <a:pt x="54560" y="151703"/>
                    </a:moveTo>
                    <a:cubicBezTo>
                      <a:pt x="52424" y="151703"/>
                      <a:pt x="50644" y="153391"/>
                      <a:pt x="50644" y="155613"/>
                    </a:cubicBezTo>
                    <a:lnTo>
                      <a:pt x="50644" y="324734"/>
                    </a:lnTo>
                    <a:cubicBezTo>
                      <a:pt x="50644" y="326867"/>
                      <a:pt x="52424" y="328645"/>
                      <a:pt x="54560" y="328645"/>
                    </a:cubicBezTo>
                    <a:lnTo>
                      <a:pt x="97372" y="328645"/>
                    </a:lnTo>
                    <a:cubicBezTo>
                      <a:pt x="99508" y="328645"/>
                      <a:pt x="101288" y="326867"/>
                      <a:pt x="101288" y="324734"/>
                    </a:cubicBezTo>
                    <a:lnTo>
                      <a:pt x="101288" y="202537"/>
                    </a:lnTo>
                    <a:cubicBezTo>
                      <a:pt x="101288" y="202448"/>
                      <a:pt x="101288" y="202359"/>
                      <a:pt x="101288" y="202359"/>
                    </a:cubicBezTo>
                    <a:lnTo>
                      <a:pt x="101288" y="155613"/>
                    </a:lnTo>
                    <a:cubicBezTo>
                      <a:pt x="101288" y="153391"/>
                      <a:pt x="99508" y="151703"/>
                      <a:pt x="97372" y="151703"/>
                    </a:cubicBezTo>
                    <a:close/>
                    <a:moveTo>
                      <a:pt x="25277" y="0"/>
                    </a:moveTo>
                    <a:lnTo>
                      <a:pt x="126566" y="0"/>
                    </a:lnTo>
                    <a:cubicBezTo>
                      <a:pt x="140539" y="0"/>
                      <a:pt x="151932" y="11287"/>
                      <a:pt x="151932" y="25239"/>
                    </a:cubicBezTo>
                    <a:cubicBezTo>
                      <a:pt x="151932" y="39281"/>
                      <a:pt x="140539" y="50568"/>
                      <a:pt x="126566" y="50568"/>
                    </a:cubicBezTo>
                    <a:lnTo>
                      <a:pt x="101288" y="50568"/>
                    </a:lnTo>
                    <a:lnTo>
                      <a:pt x="101288" y="101313"/>
                    </a:lnTo>
                    <a:cubicBezTo>
                      <a:pt x="129592" y="103268"/>
                      <a:pt x="151932" y="126819"/>
                      <a:pt x="151932" y="155613"/>
                    </a:cubicBezTo>
                    <a:lnTo>
                      <a:pt x="151932" y="188673"/>
                    </a:lnTo>
                    <a:lnTo>
                      <a:pt x="177744" y="205736"/>
                    </a:lnTo>
                    <a:lnTo>
                      <a:pt x="177744" y="176942"/>
                    </a:lnTo>
                    <a:cubicBezTo>
                      <a:pt x="177744" y="162989"/>
                      <a:pt x="189047" y="151703"/>
                      <a:pt x="203021" y="151703"/>
                    </a:cubicBezTo>
                    <a:lnTo>
                      <a:pt x="405597" y="151703"/>
                    </a:lnTo>
                    <a:cubicBezTo>
                      <a:pt x="419571" y="151703"/>
                      <a:pt x="430875" y="162989"/>
                      <a:pt x="430875" y="176942"/>
                    </a:cubicBezTo>
                    <a:lnTo>
                      <a:pt x="430875" y="205381"/>
                    </a:lnTo>
                    <a:lnTo>
                      <a:pt x="455707" y="188762"/>
                    </a:lnTo>
                    <a:lnTo>
                      <a:pt x="455707" y="155613"/>
                    </a:lnTo>
                    <a:cubicBezTo>
                      <a:pt x="455707" y="126819"/>
                      <a:pt x="478047" y="103268"/>
                      <a:pt x="506351" y="101313"/>
                    </a:cubicBezTo>
                    <a:lnTo>
                      <a:pt x="506351" y="50568"/>
                    </a:lnTo>
                    <a:lnTo>
                      <a:pt x="480984" y="50568"/>
                    </a:lnTo>
                    <a:cubicBezTo>
                      <a:pt x="467011" y="50568"/>
                      <a:pt x="455707" y="39281"/>
                      <a:pt x="455707" y="25239"/>
                    </a:cubicBezTo>
                    <a:cubicBezTo>
                      <a:pt x="455707" y="11287"/>
                      <a:pt x="467011" y="0"/>
                      <a:pt x="480984" y="0"/>
                    </a:cubicBezTo>
                    <a:lnTo>
                      <a:pt x="582272" y="0"/>
                    </a:lnTo>
                    <a:cubicBezTo>
                      <a:pt x="596246" y="0"/>
                      <a:pt x="607639" y="11287"/>
                      <a:pt x="607639" y="25239"/>
                    </a:cubicBezTo>
                    <a:cubicBezTo>
                      <a:pt x="607639" y="39281"/>
                      <a:pt x="596246" y="50568"/>
                      <a:pt x="582272" y="50568"/>
                    </a:cubicBezTo>
                    <a:lnTo>
                      <a:pt x="556995" y="50568"/>
                    </a:lnTo>
                    <a:lnTo>
                      <a:pt x="556995" y="101313"/>
                    </a:lnTo>
                    <a:cubicBezTo>
                      <a:pt x="585299" y="103268"/>
                      <a:pt x="607639" y="126819"/>
                      <a:pt x="607639" y="155613"/>
                    </a:cubicBezTo>
                    <a:lnTo>
                      <a:pt x="607639" y="324734"/>
                    </a:lnTo>
                    <a:cubicBezTo>
                      <a:pt x="607639" y="354773"/>
                      <a:pt x="583163" y="379212"/>
                      <a:pt x="553079" y="379212"/>
                    </a:cubicBezTo>
                    <a:lnTo>
                      <a:pt x="510267" y="379212"/>
                    </a:lnTo>
                    <a:cubicBezTo>
                      <a:pt x="480094" y="379212"/>
                      <a:pt x="455707" y="354773"/>
                      <a:pt x="455707" y="324734"/>
                    </a:cubicBezTo>
                    <a:lnTo>
                      <a:pt x="455707" y="249639"/>
                    </a:lnTo>
                    <a:lnTo>
                      <a:pt x="430875" y="266257"/>
                    </a:lnTo>
                    <a:lnTo>
                      <a:pt x="430875" y="328645"/>
                    </a:lnTo>
                    <a:cubicBezTo>
                      <a:pt x="450634" y="344997"/>
                      <a:pt x="464519" y="368637"/>
                      <a:pt x="472885" y="397431"/>
                    </a:cubicBezTo>
                    <a:cubicBezTo>
                      <a:pt x="480896" y="425070"/>
                      <a:pt x="482943" y="453331"/>
                      <a:pt x="481697" y="477681"/>
                    </a:cubicBezTo>
                    <a:cubicBezTo>
                      <a:pt x="481608" y="479903"/>
                      <a:pt x="481519" y="481503"/>
                      <a:pt x="481430" y="482569"/>
                    </a:cubicBezTo>
                    <a:cubicBezTo>
                      <a:pt x="480183" y="496433"/>
                      <a:pt x="467901" y="506742"/>
                      <a:pt x="453927" y="505498"/>
                    </a:cubicBezTo>
                    <a:cubicBezTo>
                      <a:pt x="440042" y="504254"/>
                      <a:pt x="429717" y="491990"/>
                      <a:pt x="430964" y="478037"/>
                    </a:cubicBezTo>
                    <a:cubicBezTo>
                      <a:pt x="430964" y="477681"/>
                      <a:pt x="431053" y="476704"/>
                      <a:pt x="431142" y="475193"/>
                    </a:cubicBezTo>
                    <a:cubicBezTo>
                      <a:pt x="432121" y="455908"/>
                      <a:pt x="430430" y="432890"/>
                      <a:pt x="424288" y="411473"/>
                    </a:cubicBezTo>
                    <a:cubicBezTo>
                      <a:pt x="413430" y="373969"/>
                      <a:pt x="392424" y="353884"/>
                      <a:pt x="354953" y="353884"/>
                    </a:cubicBezTo>
                    <a:lnTo>
                      <a:pt x="329498" y="353884"/>
                    </a:lnTo>
                    <a:lnTo>
                      <a:pt x="329230" y="404452"/>
                    </a:lnTo>
                    <a:lnTo>
                      <a:pt x="379786" y="404452"/>
                    </a:lnTo>
                    <a:cubicBezTo>
                      <a:pt x="393759" y="404452"/>
                      <a:pt x="405063" y="415827"/>
                      <a:pt x="405063" y="429780"/>
                    </a:cubicBezTo>
                    <a:lnTo>
                      <a:pt x="405063" y="581394"/>
                    </a:lnTo>
                    <a:cubicBezTo>
                      <a:pt x="405063" y="595347"/>
                      <a:pt x="393759" y="606722"/>
                      <a:pt x="379786" y="606722"/>
                    </a:cubicBezTo>
                    <a:lnTo>
                      <a:pt x="227854" y="606722"/>
                    </a:lnTo>
                    <a:cubicBezTo>
                      <a:pt x="213880" y="606722"/>
                      <a:pt x="202576" y="595347"/>
                      <a:pt x="202576" y="581394"/>
                    </a:cubicBezTo>
                    <a:lnTo>
                      <a:pt x="202576" y="429780"/>
                    </a:lnTo>
                    <a:cubicBezTo>
                      <a:pt x="202576" y="415827"/>
                      <a:pt x="213880" y="404452"/>
                      <a:pt x="227854" y="404452"/>
                    </a:cubicBezTo>
                    <a:lnTo>
                      <a:pt x="278586" y="404452"/>
                    </a:lnTo>
                    <a:lnTo>
                      <a:pt x="278854" y="353884"/>
                    </a:lnTo>
                    <a:lnTo>
                      <a:pt x="253665" y="353884"/>
                    </a:lnTo>
                    <a:cubicBezTo>
                      <a:pt x="216194" y="353884"/>
                      <a:pt x="195189" y="373969"/>
                      <a:pt x="184330" y="411473"/>
                    </a:cubicBezTo>
                    <a:cubicBezTo>
                      <a:pt x="178100" y="432890"/>
                      <a:pt x="176497" y="455908"/>
                      <a:pt x="177388" y="475193"/>
                    </a:cubicBezTo>
                    <a:cubicBezTo>
                      <a:pt x="177477" y="476704"/>
                      <a:pt x="177566" y="477681"/>
                      <a:pt x="177566" y="478037"/>
                    </a:cubicBezTo>
                    <a:cubicBezTo>
                      <a:pt x="178812" y="491990"/>
                      <a:pt x="168576" y="504254"/>
                      <a:pt x="154602" y="505498"/>
                    </a:cubicBezTo>
                    <a:cubicBezTo>
                      <a:pt x="140717" y="506742"/>
                      <a:pt x="128435" y="496433"/>
                      <a:pt x="127189" y="482569"/>
                    </a:cubicBezTo>
                    <a:cubicBezTo>
                      <a:pt x="127100" y="481503"/>
                      <a:pt x="126922" y="479903"/>
                      <a:pt x="126833" y="477681"/>
                    </a:cubicBezTo>
                    <a:cubicBezTo>
                      <a:pt x="125675" y="453331"/>
                      <a:pt x="127723" y="425070"/>
                      <a:pt x="135644" y="397431"/>
                    </a:cubicBezTo>
                    <a:cubicBezTo>
                      <a:pt x="144011" y="368637"/>
                      <a:pt x="157895" y="344997"/>
                      <a:pt x="177744" y="328645"/>
                    </a:cubicBezTo>
                    <a:lnTo>
                      <a:pt x="177744" y="266346"/>
                    </a:lnTo>
                    <a:lnTo>
                      <a:pt x="151932" y="249283"/>
                    </a:lnTo>
                    <a:lnTo>
                      <a:pt x="151932" y="324734"/>
                    </a:lnTo>
                    <a:cubicBezTo>
                      <a:pt x="151932" y="354773"/>
                      <a:pt x="127456" y="379212"/>
                      <a:pt x="97372" y="379212"/>
                    </a:cubicBezTo>
                    <a:lnTo>
                      <a:pt x="54560" y="379212"/>
                    </a:lnTo>
                    <a:cubicBezTo>
                      <a:pt x="24387" y="379212"/>
                      <a:pt x="0" y="354773"/>
                      <a:pt x="0" y="324734"/>
                    </a:cubicBezTo>
                    <a:lnTo>
                      <a:pt x="0" y="155613"/>
                    </a:lnTo>
                    <a:cubicBezTo>
                      <a:pt x="0" y="126819"/>
                      <a:pt x="22340" y="103268"/>
                      <a:pt x="50644" y="101313"/>
                    </a:cubicBezTo>
                    <a:lnTo>
                      <a:pt x="50644" y="50568"/>
                    </a:lnTo>
                    <a:lnTo>
                      <a:pt x="25277" y="50568"/>
                    </a:lnTo>
                    <a:cubicBezTo>
                      <a:pt x="11304" y="50568"/>
                      <a:pt x="0" y="39281"/>
                      <a:pt x="0" y="25239"/>
                    </a:cubicBezTo>
                    <a:cubicBezTo>
                      <a:pt x="0" y="11287"/>
                      <a:pt x="11304" y="0"/>
                      <a:pt x="252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8" name="组合 77">
              <a:extLst>
                <a:ext uri="{FF2B5EF4-FFF2-40B4-BE49-F238E27FC236}">
                  <a16:creationId xmlns:a16="http://schemas.microsoft.com/office/drawing/2014/main" id="{9D1CD88A-265C-4768-92D7-8940F3FC2332}"/>
                </a:ext>
              </a:extLst>
            </p:cNvPr>
            <p:cNvGrpSpPr/>
            <p:nvPr/>
          </p:nvGrpSpPr>
          <p:grpSpPr>
            <a:xfrm>
              <a:off x="5882051" y="4622085"/>
              <a:ext cx="2914329" cy="514670"/>
              <a:chOff x="5882051" y="4622085"/>
              <a:chExt cx="2914329" cy="514670"/>
            </a:xfrm>
          </p:grpSpPr>
          <p:sp>
            <p:nvSpPr>
              <p:cNvPr id="36" name="文本框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5882051" y="4622085"/>
                <a:ext cx="2385376" cy="5146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微软雅黑" panose="020B0503020204020204" pitchFamily="34" charset="-122"/>
                  </a:rPr>
                  <a:t>无人机竞速国际公开赛</a:t>
                </a:r>
                <a:endParaRPr lang="en-US" altLang="zh-CN" sz="1400" dirty="0"/>
              </a:p>
            </p:txBody>
          </p:sp>
          <p:sp>
            <p:nvSpPr>
              <p:cNvPr id="38" name="形状">
                <a:extLst>
                  <a:ext uri="{FF2B5EF4-FFF2-40B4-BE49-F238E27FC236}">
                    <a16:creationId xmlns:a16="http://schemas.microsoft.com/office/drawing/2014/main" id="{EFA435EC-E3DA-434D-9F18-E1715DFAA725}"/>
                  </a:ext>
                </a:extLst>
              </p:cNvPr>
              <p:cNvSpPr/>
              <p:nvPr/>
            </p:nvSpPr>
            <p:spPr>
              <a:xfrm>
                <a:off x="8358665" y="4660563"/>
                <a:ext cx="437715" cy="437715"/>
              </a:xfrm>
              <a:prstGeom prst="ellipse">
                <a:avLst/>
              </a:prstGeom>
              <a:solidFill>
                <a:srgbClr val="1D5394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图片">
                <a:extLst>
                  <a:ext uri="{FF2B5EF4-FFF2-40B4-BE49-F238E27FC236}">
                    <a16:creationId xmlns:a16="http://schemas.microsoft.com/office/drawing/2014/main" id="{C24773D9-DE7E-4581-8A76-5F9A95240769}"/>
                  </a:ext>
                </a:extLst>
              </p:cNvPr>
              <p:cNvSpPr/>
              <p:nvPr/>
            </p:nvSpPr>
            <p:spPr>
              <a:xfrm>
                <a:off x="8446245" y="4748342"/>
                <a:ext cx="262554" cy="262157"/>
              </a:xfrm>
              <a:custGeom>
                <a:avLst/>
                <a:gdLst>
                  <a:gd name="connsiteX0" fmla="*/ 303820 w 607639"/>
                  <a:gd name="connsiteY0" fmla="*/ 480269 h 606722"/>
                  <a:gd name="connsiteX1" fmla="*/ 329118 w 607639"/>
                  <a:gd name="connsiteY1" fmla="*/ 505567 h 606722"/>
                  <a:gd name="connsiteX2" fmla="*/ 303820 w 607639"/>
                  <a:gd name="connsiteY2" fmla="*/ 530865 h 606722"/>
                  <a:gd name="connsiteX3" fmla="*/ 278522 w 607639"/>
                  <a:gd name="connsiteY3" fmla="*/ 505567 h 606722"/>
                  <a:gd name="connsiteX4" fmla="*/ 303820 w 607639"/>
                  <a:gd name="connsiteY4" fmla="*/ 480269 h 606722"/>
                  <a:gd name="connsiteX5" fmla="*/ 253131 w 607639"/>
                  <a:gd name="connsiteY5" fmla="*/ 455019 h 606722"/>
                  <a:gd name="connsiteX6" fmla="*/ 253131 w 607639"/>
                  <a:gd name="connsiteY6" fmla="*/ 556154 h 606722"/>
                  <a:gd name="connsiteX7" fmla="*/ 354419 w 607639"/>
                  <a:gd name="connsiteY7" fmla="*/ 556154 h 606722"/>
                  <a:gd name="connsiteX8" fmla="*/ 354419 w 607639"/>
                  <a:gd name="connsiteY8" fmla="*/ 455019 h 606722"/>
                  <a:gd name="connsiteX9" fmla="*/ 228299 w 607639"/>
                  <a:gd name="connsiteY9" fmla="*/ 202270 h 606722"/>
                  <a:gd name="connsiteX10" fmla="*/ 228299 w 607639"/>
                  <a:gd name="connsiteY10" fmla="*/ 252482 h 606722"/>
                  <a:gd name="connsiteX11" fmla="*/ 228299 w 607639"/>
                  <a:gd name="connsiteY11" fmla="*/ 252749 h 606722"/>
                  <a:gd name="connsiteX12" fmla="*/ 228299 w 607639"/>
                  <a:gd name="connsiteY12" fmla="*/ 303317 h 606722"/>
                  <a:gd name="connsiteX13" fmla="*/ 380231 w 607639"/>
                  <a:gd name="connsiteY13" fmla="*/ 303317 h 606722"/>
                  <a:gd name="connsiteX14" fmla="*/ 380231 w 607639"/>
                  <a:gd name="connsiteY14" fmla="*/ 202270 h 606722"/>
                  <a:gd name="connsiteX15" fmla="*/ 510267 w 607639"/>
                  <a:gd name="connsiteY15" fmla="*/ 151703 h 606722"/>
                  <a:gd name="connsiteX16" fmla="*/ 506351 w 607639"/>
                  <a:gd name="connsiteY16" fmla="*/ 155613 h 606722"/>
                  <a:gd name="connsiteX17" fmla="*/ 506351 w 607639"/>
                  <a:gd name="connsiteY17" fmla="*/ 324734 h 606722"/>
                  <a:gd name="connsiteX18" fmla="*/ 510267 w 607639"/>
                  <a:gd name="connsiteY18" fmla="*/ 328645 h 606722"/>
                  <a:gd name="connsiteX19" fmla="*/ 553079 w 607639"/>
                  <a:gd name="connsiteY19" fmla="*/ 328645 h 606722"/>
                  <a:gd name="connsiteX20" fmla="*/ 556995 w 607639"/>
                  <a:gd name="connsiteY20" fmla="*/ 324734 h 606722"/>
                  <a:gd name="connsiteX21" fmla="*/ 556995 w 607639"/>
                  <a:gd name="connsiteY21" fmla="*/ 155613 h 606722"/>
                  <a:gd name="connsiteX22" fmla="*/ 553079 w 607639"/>
                  <a:gd name="connsiteY22" fmla="*/ 151703 h 606722"/>
                  <a:gd name="connsiteX23" fmla="*/ 54560 w 607639"/>
                  <a:gd name="connsiteY23" fmla="*/ 151703 h 606722"/>
                  <a:gd name="connsiteX24" fmla="*/ 50644 w 607639"/>
                  <a:gd name="connsiteY24" fmla="*/ 155613 h 606722"/>
                  <a:gd name="connsiteX25" fmla="*/ 50644 w 607639"/>
                  <a:gd name="connsiteY25" fmla="*/ 324734 h 606722"/>
                  <a:gd name="connsiteX26" fmla="*/ 54560 w 607639"/>
                  <a:gd name="connsiteY26" fmla="*/ 328645 h 606722"/>
                  <a:gd name="connsiteX27" fmla="*/ 97372 w 607639"/>
                  <a:gd name="connsiteY27" fmla="*/ 328645 h 606722"/>
                  <a:gd name="connsiteX28" fmla="*/ 101288 w 607639"/>
                  <a:gd name="connsiteY28" fmla="*/ 324734 h 606722"/>
                  <a:gd name="connsiteX29" fmla="*/ 101288 w 607639"/>
                  <a:gd name="connsiteY29" fmla="*/ 202537 h 606722"/>
                  <a:gd name="connsiteX30" fmla="*/ 101288 w 607639"/>
                  <a:gd name="connsiteY30" fmla="*/ 202359 h 606722"/>
                  <a:gd name="connsiteX31" fmla="*/ 101288 w 607639"/>
                  <a:gd name="connsiteY31" fmla="*/ 155613 h 606722"/>
                  <a:gd name="connsiteX32" fmla="*/ 97372 w 607639"/>
                  <a:gd name="connsiteY32" fmla="*/ 151703 h 606722"/>
                  <a:gd name="connsiteX33" fmla="*/ 25277 w 607639"/>
                  <a:gd name="connsiteY33" fmla="*/ 0 h 606722"/>
                  <a:gd name="connsiteX34" fmla="*/ 126566 w 607639"/>
                  <a:gd name="connsiteY34" fmla="*/ 0 h 606722"/>
                  <a:gd name="connsiteX35" fmla="*/ 151932 w 607639"/>
                  <a:gd name="connsiteY35" fmla="*/ 25239 h 606722"/>
                  <a:gd name="connsiteX36" fmla="*/ 126566 w 607639"/>
                  <a:gd name="connsiteY36" fmla="*/ 50568 h 606722"/>
                  <a:gd name="connsiteX37" fmla="*/ 101288 w 607639"/>
                  <a:gd name="connsiteY37" fmla="*/ 50568 h 606722"/>
                  <a:gd name="connsiteX38" fmla="*/ 101288 w 607639"/>
                  <a:gd name="connsiteY38" fmla="*/ 101313 h 606722"/>
                  <a:gd name="connsiteX39" fmla="*/ 151932 w 607639"/>
                  <a:gd name="connsiteY39" fmla="*/ 155613 h 606722"/>
                  <a:gd name="connsiteX40" fmla="*/ 151932 w 607639"/>
                  <a:gd name="connsiteY40" fmla="*/ 188673 h 606722"/>
                  <a:gd name="connsiteX41" fmla="*/ 177744 w 607639"/>
                  <a:gd name="connsiteY41" fmla="*/ 205736 h 606722"/>
                  <a:gd name="connsiteX42" fmla="*/ 177744 w 607639"/>
                  <a:gd name="connsiteY42" fmla="*/ 176942 h 606722"/>
                  <a:gd name="connsiteX43" fmla="*/ 203021 w 607639"/>
                  <a:gd name="connsiteY43" fmla="*/ 151703 h 606722"/>
                  <a:gd name="connsiteX44" fmla="*/ 405597 w 607639"/>
                  <a:gd name="connsiteY44" fmla="*/ 151703 h 606722"/>
                  <a:gd name="connsiteX45" fmla="*/ 430875 w 607639"/>
                  <a:gd name="connsiteY45" fmla="*/ 176942 h 606722"/>
                  <a:gd name="connsiteX46" fmla="*/ 430875 w 607639"/>
                  <a:gd name="connsiteY46" fmla="*/ 205381 h 606722"/>
                  <a:gd name="connsiteX47" fmla="*/ 455707 w 607639"/>
                  <a:gd name="connsiteY47" fmla="*/ 188762 h 606722"/>
                  <a:gd name="connsiteX48" fmla="*/ 455707 w 607639"/>
                  <a:gd name="connsiteY48" fmla="*/ 155613 h 606722"/>
                  <a:gd name="connsiteX49" fmla="*/ 506351 w 607639"/>
                  <a:gd name="connsiteY49" fmla="*/ 101313 h 606722"/>
                  <a:gd name="connsiteX50" fmla="*/ 506351 w 607639"/>
                  <a:gd name="connsiteY50" fmla="*/ 50568 h 606722"/>
                  <a:gd name="connsiteX51" fmla="*/ 480984 w 607639"/>
                  <a:gd name="connsiteY51" fmla="*/ 50568 h 606722"/>
                  <a:gd name="connsiteX52" fmla="*/ 455707 w 607639"/>
                  <a:gd name="connsiteY52" fmla="*/ 25239 h 606722"/>
                  <a:gd name="connsiteX53" fmla="*/ 480984 w 607639"/>
                  <a:gd name="connsiteY53" fmla="*/ 0 h 606722"/>
                  <a:gd name="connsiteX54" fmla="*/ 582272 w 607639"/>
                  <a:gd name="connsiteY54" fmla="*/ 0 h 606722"/>
                  <a:gd name="connsiteX55" fmla="*/ 607639 w 607639"/>
                  <a:gd name="connsiteY55" fmla="*/ 25239 h 606722"/>
                  <a:gd name="connsiteX56" fmla="*/ 582272 w 607639"/>
                  <a:gd name="connsiteY56" fmla="*/ 50568 h 606722"/>
                  <a:gd name="connsiteX57" fmla="*/ 556995 w 607639"/>
                  <a:gd name="connsiteY57" fmla="*/ 50568 h 606722"/>
                  <a:gd name="connsiteX58" fmla="*/ 556995 w 607639"/>
                  <a:gd name="connsiteY58" fmla="*/ 101313 h 606722"/>
                  <a:gd name="connsiteX59" fmla="*/ 607639 w 607639"/>
                  <a:gd name="connsiteY59" fmla="*/ 155613 h 606722"/>
                  <a:gd name="connsiteX60" fmla="*/ 607639 w 607639"/>
                  <a:gd name="connsiteY60" fmla="*/ 324734 h 606722"/>
                  <a:gd name="connsiteX61" fmla="*/ 553079 w 607639"/>
                  <a:gd name="connsiteY61" fmla="*/ 379212 h 606722"/>
                  <a:gd name="connsiteX62" fmla="*/ 510267 w 607639"/>
                  <a:gd name="connsiteY62" fmla="*/ 379212 h 606722"/>
                  <a:gd name="connsiteX63" fmla="*/ 455707 w 607639"/>
                  <a:gd name="connsiteY63" fmla="*/ 324734 h 606722"/>
                  <a:gd name="connsiteX64" fmla="*/ 455707 w 607639"/>
                  <a:gd name="connsiteY64" fmla="*/ 249639 h 606722"/>
                  <a:gd name="connsiteX65" fmla="*/ 430875 w 607639"/>
                  <a:gd name="connsiteY65" fmla="*/ 266257 h 606722"/>
                  <a:gd name="connsiteX66" fmla="*/ 430875 w 607639"/>
                  <a:gd name="connsiteY66" fmla="*/ 328645 h 606722"/>
                  <a:gd name="connsiteX67" fmla="*/ 472885 w 607639"/>
                  <a:gd name="connsiteY67" fmla="*/ 397431 h 606722"/>
                  <a:gd name="connsiteX68" fmla="*/ 481697 w 607639"/>
                  <a:gd name="connsiteY68" fmla="*/ 477681 h 606722"/>
                  <a:gd name="connsiteX69" fmla="*/ 481430 w 607639"/>
                  <a:gd name="connsiteY69" fmla="*/ 482569 h 606722"/>
                  <a:gd name="connsiteX70" fmla="*/ 453927 w 607639"/>
                  <a:gd name="connsiteY70" fmla="*/ 505498 h 606722"/>
                  <a:gd name="connsiteX71" fmla="*/ 430964 w 607639"/>
                  <a:gd name="connsiteY71" fmla="*/ 478037 h 606722"/>
                  <a:gd name="connsiteX72" fmla="*/ 431142 w 607639"/>
                  <a:gd name="connsiteY72" fmla="*/ 475193 h 606722"/>
                  <a:gd name="connsiteX73" fmla="*/ 424288 w 607639"/>
                  <a:gd name="connsiteY73" fmla="*/ 411473 h 606722"/>
                  <a:gd name="connsiteX74" fmla="*/ 354953 w 607639"/>
                  <a:gd name="connsiteY74" fmla="*/ 353884 h 606722"/>
                  <a:gd name="connsiteX75" fmla="*/ 329498 w 607639"/>
                  <a:gd name="connsiteY75" fmla="*/ 353884 h 606722"/>
                  <a:gd name="connsiteX76" fmla="*/ 329230 w 607639"/>
                  <a:gd name="connsiteY76" fmla="*/ 404452 h 606722"/>
                  <a:gd name="connsiteX77" fmla="*/ 379786 w 607639"/>
                  <a:gd name="connsiteY77" fmla="*/ 404452 h 606722"/>
                  <a:gd name="connsiteX78" fmla="*/ 405063 w 607639"/>
                  <a:gd name="connsiteY78" fmla="*/ 429780 h 606722"/>
                  <a:gd name="connsiteX79" fmla="*/ 405063 w 607639"/>
                  <a:gd name="connsiteY79" fmla="*/ 581394 h 606722"/>
                  <a:gd name="connsiteX80" fmla="*/ 379786 w 607639"/>
                  <a:gd name="connsiteY80" fmla="*/ 606722 h 606722"/>
                  <a:gd name="connsiteX81" fmla="*/ 227854 w 607639"/>
                  <a:gd name="connsiteY81" fmla="*/ 606722 h 606722"/>
                  <a:gd name="connsiteX82" fmla="*/ 202576 w 607639"/>
                  <a:gd name="connsiteY82" fmla="*/ 581394 h 606722"/>
                  <a:gd name="connsiteX83" fmla="*/ 202576 w 607639"/>
                  <a:gd name="connsiteY83" fmla="*/ 429780 h 606722"/>
                  <a:gd name="connsiteX84" fmla="*/ 227854 w 607639"/>
                  <a:gd name="connsiteY84" fmla="*/ 404452 h 606722"/>
                  <a:gd name="connsiteX85" fmla="*/ 278586 w 607639"/>
                  <a:gd name="connsiteY85" fmla="*/ 404452 h 606722"/>
                  <a:gd name="connsiteX86" fmla="*/ 278854 w 607639"/>
                  <a:gd name="connsiteY86" fmla="*/ 353884 h 606722"/>
                  <a:gd name="connsiteX87" fmla="*/ 253665 w 607639"/>
                  <a:gd name="connsiteY87" fmla="*/ 353884 h 606722"/>
                  <a:gd name="connsiteX88" fmla="*/ 184330 w 607639"/>
                  <a:gd name="connsiteY88" fmla="*/ 411473 h 606722"/>
                  <a:gd name="connsiteX89" fmla="*/ 177388 w 607639"/>
                  <a:gd name="connsiteY89" fmla="*/ 475193 h 606722"/>
                  <a:gd name="connsiteX90" fmla="*/ 177566 w 607639"/>
                  <a:gd name="connsiteY90" fmla="*/ 478037 h 606722"/>
                  <a:gd name="connsiteX91" fmla="*/ 154602 w 607639"/>
                  <a:gd name="connsiteY91" fmla="*/ 505498 h 606722"/>
                  <a:gd name="connsiteX92" fmla="*/ 127189 w 607639"/>
                  <a:gd name="connsiteY92" fmla="*/ 482569 h 606722"/>
                  <a:gd name="connsiteX93" fmla="*/ 126833 w 607639"/>
                  <a:gd name="connsiteY93" fmla="*/ 477681 h 606722"/>
                  <a:gd name="connsiteX94" fmla="*/ 135644 w 607639"/>
                  <a:gd name="connsiteY94" fmla="*/ 397431 h 606722"/>
                  <a:gd name="connsiteX95" fmla="*/ 177744 w 607639"/>
                  <a:gd name="connsiteY95" fmla="*/ 328645 h 606722"/>
                  <a:gd name="connsiteX96" fmla="*/ 177744 w 607639"/>
                  <a:gd name="connsiteY96" fmla="*/ 266346 h 606722"/>
                  <a:gd name="connsiteX97" fmla="*/ 151932 w 607639"/>
                  <a:gd name="connsiteY97" fmla="*/ 249283 h 606722"/>
                  <a:gd name="connsiteX98" fmla="*/ 151932 w 607639"/>
                  <a:gd name="connsiteY98" fmla="*/ 324734 h 606722"/>
                  <a:gd name="connsiteX99" fmla="*/ 97372 w 607639"/>
                  <a:gd name="connsiteY99" fmla="*/ 379212 h 606722"/>
                  <a:gd name="connsiteX100" fmla="*/ 54560 w 607639"/>
                  <a:gd name="connsiteY100" fmla="*/ 379212 h 606722"/>
                  <a:gd name="connsiteX101" fmla="*/ 0 w 607639"/>
                  <a:gd name="connsiteY101" fmla="*/ 324734 h 606722"/>
                  <a:gd name="connsiteX102" fmla="*/ 0 w 607639"/>
                  <a:gd name="connsiteY102" fmla="*/ 155613 h 606722"/>
                  <a:gd name="connsiteX103" fmla="*/ 50644 w 607639"/>
                  <a:gd name="connsiteY103" fmla="*/ 101313 h 606722"/>
                  <a:gd name="connsiteX104" fmla="*/ 50644 w 607639"/>
                  <a:gd name="connsiteY104" fmla="*/ 50568 h 606722"/>
                  <a:gd name="connsiteX105" fmla="*/ 25277 w 607639"/>
                  <a:gd name="connsiteY105" fmla="*/ 50568 h 606722"/>
                  <a:gd name="connsiteX106" fmla="*/ 0 w 607639"/>
                  <a:gd name="connsiteY106" fmla="*/ 25239 h 606722"/>
                  <a:gd name="connsiteX107" fmla="*/ 25277 w 607639"/>
                  <a:gd name="connsiteY10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607639" h="606722">
                    <a:moveTo>
                      <a:pt x="303820" y="480269"/>
                    </a:moveTo>
                    <a:cubicBezTo>
                      <a:pt x="317792" y="480269"/>
                      <a:pt x="329118" y="491595"/>
                      <a:pt x="329118" y="505567"/>
                    </a:cubicBezTo>
                    <a:cubicBezTo>
                      <a:pt x="329118" y="519539"/>
                      <a:pt x="317792" y="530865"/>
                      <a:pt x="303820" y="530865"/>
                    </a:cubicBezTo>
                    <a:cubicBezTo>
                      <a:pt x="289848" y="530865"/>
                      <a:pt x="278522" y="519539"/>
                      <a:pt x="278522" y="505567"/>
                    </a:cubicBezTo>
                    <a:cubicBezTo>
                      <a:pt x="278522" y="491595"/>
                      <a:pt x="289848" y="480269"/>
                      <a:pt x="303820" y="480269"/>
                    </a:cubicBezTo>
                    <a:close/>
                    <a:moveTo>
                      <a:pt x="253131" y="455019"/>
                    </a:moveTo>
                    <a:lnTo>
                      <a:pt x="253131" y="556154"/>
                    </a:lnTo>
                    <a:lnTo>
                      <a:pt x="354419" y="556154"/>
                    </a:lnTo>
                    <a:lnTo>
                      <a:pt x="354419" y="455019"/>
                    </a:lnTo>
                    <a:close/>
                    <a:moveTo>
                      <a:pt x="228299" y="202270"/>
                    </a:moveTo>
                    <a:lnTo>
                      <a:pt x="228299" y="252482"/>
                    </a:lnTo>
                    <a:cubicBezTo>
                      <a:pt x="228299" y="252571"/>
                      <a:pt x="228299" y="252660"/>
                      <a:pt x="228299" y="252749"/>
                    </a:cubicBezTo>
                    <a:lnTo>
                      <a:pt x="228299" y="303317"/>
                    </a:lnTo>
                    <a:lnTo>
                      <a:pt x="380231" y="303317"/>
                    </a:lnTo>
                    <a:lnTo>
                      <a:pt x="380231" y="202270"/>
                    </a:lnTo>
                    <a:close/>
                    <a:moveTo>
                      <a:pt x="510267" y="151703"/>
                    </a:moveTo>
                    <a:cubicBezTo>
                      <a:pt x="508131" y="151703"/>
                      <a:pt x="506351" y="153391"/>
                      <a:pt x="506351" y="155613"/>
                    </a:cubicBezTo>
                    <a:lnTo>
                      <a:pt x="506351" y="324734"/>
                    </a:lnTo>
                    <a:cubicBezTo>
                      <a:pt x="506351" y="326867"/>
                      <a:pt x="508131" y="328645"/>
                      <a:pt x="510267" y="328645"/>
                    </a:cubicBezTo>
                    <a:lnTo>
                      <a:pt x="553079" y="328645"/>
                    </a:lnTo>
                    <a:cubicBezTo>
                      <a:pt x="555215" y="328645"/>
                      <a:pt x="556995" y="326867"/>
                      <a:pt x="556995" y="324734"/>
                    </a:cubicBezTo>
                    <a:lnTo>
                      <a:pt x="556995" y="155613"/>
                    </a:lnTo>
                    <a:cubicBezTo>
                      <a:pt x="556995" y="153391"/>
                      <a:pt x="555215" y="151703"/>
                      <a:pt x="553079" y="151703"/>
                    </a:cubicBezTo>
                    <a:close/>
                    <a:moveTo>
                      <a:pt x="54560" y="151703"/>
                    </a:moveTo>
                    <a:cubicBezTo>
                      <a:pt x="52424" y="151703"/>
                      <a:pt x="50644" y="153391"/>
                      <a:pt x="50644" y="155613"/>
                    </a:cubicBezTo>
                    <a:lnTo>
                      <a:pt x="50644" y="324734"/>
                    </a:lnTo>
                    <a:cubicBezTo>
                      <a:pt x="50644" y="326867"/>
                      <a:pt x="52424" y="328645"/>
                      <a:pt x="54560" y="328645"/>
                    </a:cubicBezTo>
                    <a:lnTo>
                      <a:pt x="97372" y="328645"/>
                    </a:lnTo>
                    <a:cubicBezTo>
                      <a:pt x="99508" y="328645"/>
                      <a:pt x="101288" y="326867"/>
                      <a:pt x="101288" y="324734"/>
                    </a:cubicBezTo>
                    <a:lnTo>
                      <a:pt x="101288" y="202537"/>
                    </a:lnTo>
                    <a:cubicBezTo>
                      <a:pt x="101288" y="202448"/>
                      <a:pt x="101288" y="202359"/>
                      <a:pt x="101288" y="202359"/>
                    </a:cubicBezTo>
                    <a:lnTo>
                      <a:pt x="101288" y="155613"/>
                    </a:lnTo>
                    <a:cubicBezTo>
                      <a:pt x="101288" y="153391"/>
                      <a:pt x="99508" y="151703"/>
                      <a:pt x="97372" y="151703"/>
                    </a:cubicBezTo>
                    <a:close/>
                    <a:moveTo>
                      <a:pt x="25277" y="0"/>
                    </a:moveTo>
                    <a:lnTo>
                      <a:pt x="126566" y="0"/>
                    </a:lnTo>
                    <a:cubicBezTo>
                      <a:pt x="140539" y="0"/>
                      <a:pt x="151932" y="11287"/>
                      <a:pt x="151932" y="25239"/>
                    </a:cubicBezTo>
                    <a:cubicBezTo>
                      <a:pt x="151932" y="39281"/>
                      <a:pt x="140539" y="50568"/>
                      <a:pt x="126566" y="50568"/>
                    </a:cubicBezTo>
                    <a:lnTo>
                      <a:pt x="101288" y="50568"/>
                    </a:lnTo>
                    <a:lnTo>
                      <a:pt x="101288" y="101313"/>
                    </a:lnTo>
                    <a:cubicBezTo>
                      <a:pt x="129592" y="103268"/>
                      <a:pt x="151932" y="126819"/>
                      <a:pt x="151932" y="155613"/>
                    </a:cubicBezTo>
                    <a:lnTo>
                      <a:pt x="151932" y="188673"/>
                    </a:lnTo>
                    <a:lnTo>
                      <a:pt x="177744" y="205736"/>
                    </a:lnTo>
                    <a:lnTo>
                      <a:pt x="177744" y="176942"/>
                    </a:lnTo>
                    <a:cubicBezTo>
                      <a:pt x="177744" y="162989"/>
                      <a:pt x="189047" y="151703"/>
                      <a:pt x="203021" y="151703"/>
                    </a:cubicBezTo>
                    <a:lnTo>
                      <a:pt x="405597" y="151703"/>
                    </a:lnTo>
                    <a:cubicBezTo>
                      <a:pt x="419571" y="151703"/>
                      <a:pt x="430875" y="162989"/>
                      <a:pt x="430875" y="176942"/>
                    </a:cubicBezTo>
                    <a:lnTo>
                      <a:pt x="430875" y="205381"/>
                    </a:lnTo>
                    <a:lnTo>
                      <a:pt x="455707" y="188762"/>
                    </a:lnTo>
                    <a:lnTo>
                      <a:pt x="455707" y="155613"/>
                    </a:lnTo>
                    <a:cubicBezTo>
                      <a:pt x="455707" y="126819"/>
                      <a:pt x="478047" y="103268"/>
                      <a:pt x="506351" y="101313"/>
                    </a:cubicBezTo>
                    <a:lnTo>
                      <a:pt x="506351" y="50568"/>
                    </a:lnTo>
                    <a:lnTo>
                      <a:pt x="480984" y="50568"/>
                    </a:lnTo>
                    <a:cubicBezTo>
                      <a:pt x="467011" y="50568"/>
                      <a:pt x="455707" y="39281"/>
                      <a:pt x="455707" y="25239"/>
                    </a:cubicBezTo>
                    <a:cubicBezTo>
                      <a:pt x="455707" y="11287"/>
                      <a:pt x="467011" y="0"/>
                      <a:pt x="480984" y="0"/>
                    </a:cubicBezTo>
                    <a:lnTo>
                      <a:pt x="582272" y="0"/>
                    </a:lnTo>
                    <a:cubicBezTo>
                      <a:pt x="596246" y="0"/>
                      <a:pt x="607639" y="11287"/>
                      <a:pt x="607639" y="25239"/>
                    </a:cubicBezTo>
                    <a:cubicBezTo>
                      <a:pt x="607639" y="39281"/>
                      <a:pt x="596246" y="50568"/>
                      <a:pt x="582272" y="50568"/>
                    </a:cubicBezTo>
                    <a:lnTo>
                      <a:pt x="556995" y="50568"/>
                    </a:lnTo>
                    <a:lnTo>
                      <a:pt x="556995" y="101313"/>
                    </a:lnTo>
                    <a:cubicBezTo>
                      <a:pt x="585299" y="103268"/>
                      <a:pt x="607639" y="126819"/>
                      <a:pt x="607639" y="155613"/>
                    </a:cubicBezTo>
                    <a:lnTo>
                      <a:pt x="607639" y="324734"/>
                    </a:lnTo>
                    <a:cubicBezTo>
                      <a:pt x="607639" y="354773"/>
                      <a:pt x="583163" y="379212"/>
                      <a:pt x="553079" y="379212"/>
                    </a:cubicBezTo>
                    <a:lnTo>
                      <a:pt x="510267" y="379212"/>
                    </a:lnTo>
                    <a:cubicBezTo>
                      <a:pt x="480094" y="379212"/>
                      <a:pt x="455707" y="354773"/>
                      <a:pt x="455707" y="324734"/>
                    </a:cubicBezTo>
                    <a:lnTo>
                      <a:pt x="455707" y="249639"/>
                    </a:lnTo>
                    <a:lnTo>
                      <a:pt x="430875" y="266257"/>
                    </a:lnTo>
                    <a:lnTo>
                      <a:pt x="430875" y="328645"/>
                    </a:lnTo>
                    <a:cubicBezTo>
                      <a:pt x="450634" y="344997"/>
                      <a:pt x="464519" y="368637"/>
                      <a:pt x="472885" y="397431"/>
                    </a:cubicBezTo>
                    <a:cubicBezTo>
                      <a:pt x="480896" y="425070"/>
                      <a:pt x="482943" y="453331"/>
                      <a:pt x="481697" y="477681"/>
                    </a:cubicBezTo>
                    <a:cubicBezTo>
                      <a:pt x="481608" y="479903"/>
                      <a:pt x="481519" y="481503"/>
                      <a:pt x="481430" y="482569"/>
                    </a:cubicBezTo>
                    <a:cubicBezTo>
                      <a:pt x="480183" y="496433"/>
                      <a:pt x="467901" y="506742"/>
                      <a:pt x="453927" y="505498"/>
                    </a:cubicBezTo>
                    <a:cubicBezTo>
                      <a:pt x="440042" y="504254"/>
                      <a:pt x="429717" y="491990"/>
                      <a:pt x="430964" y="478037"/>
                    </a:cubicBezTo>
                    <a:cubicBezTo>
                      <a:pt x="430964" y="477681"/>
                      <a:pt x="431053" y="476704"/>
                      <a:pt x="431142" y="475193"/>
                    </a:cubicBezTo>
                    <a:cubicBezTo>
                      <a:pt x="432121" y="455908"/>
                      <a:pt x="430430" y="432890"/>
                      <a:pt x="424288" y="411473"/>
                    </a:cubicBezTo>
                    <a:cubicBezTo>
                      <a:pt x="413430" y="373969"/>
                      <a:pt x="392424" y="353884"/>
                      <a:pt x="354953" y="353884"/>
                    </a:cubicBezTo>
                    <a:lnTo>
                      <a:pt x="329498" y="353884"/>
                    </a:lnTo>
                    <a:lnTo>
                      <a:pt x="329230" y="404452"/>
                    </a:lnTo>
                    <a:lnTo>
                      <a:pt x="379786" y="404452"/>
                    </a:lnTo>
                    <a:cubicBezTo>
                      <a:pt x="393759" y="404452"/>
                      <a:pt x="405063" y="415827"/>
                      <a:pt x="405063" y="429780"/>
                    </a:cubicBezTo>
                    <a:lnTo>
                      <a:pt x="405063" y="581394"/>
                    </a:lnTo>
                    <a:cubicBezTo>
                      <a:pt x="405063" y="595347"/>
                      <a:pt x="393759" y="606722"/>
                      <a:pt x="379786" y="606722"/>
                    </a:cubicBezTo>
                    <a:lnTo>
                      <a:pt x="227854" y="606722"/>
                    </a:lnTo>
                    <a:cubicBezTo>
                      <a:pt x="213880" y="606722"/>
                      <a:pt x="202576" y="595347"/>
                      <a:pt x="202576" y="581394"/>
                    </a:cubicBezTo>
                    <a:lnTo>
                      <a:pt x="202576" y="429780"/>
                    </a:lnTo>
                    <a:cubicBezTo>
                      <a:pt x="202576" y="415827"/>
                      <a:pt x="213880" y="404452"/>
                      <a:pt x="227854" y="404452"/>
                    </a:cubicBezTo>
                    <a:lnTo>
                      <a:pt x="278586" y="404452"/>
                    </a:lnTo>
                    <a:lnTo>
                      <a:pt x="278854" y="353884"/>
                    </a:lnTo>
                    <a:lnTo>
                      <a:pt x="253665" y="353884"/>
                    </a:lnTo>
                    <a:cubicBezTo>
                      <a:pt x="216194" y="353884"/>
                      <a:pt x="195189" y="373969"/>
                      <a:pt x="184330" y="411473"/>
                    </a:cubicBezTo>
                    <a:cubicBezTo>
                      <a:pt x="178100" y="432890"/>
                      <a:pt x="176497" y="455908"/>
                      <a:pt x="177388" y="475193"/>
                    </a:cubicBezTo>
                    <a:cubicBezTo>
                      <a:pt x="177477" y="476704"/>
                      <a:pt x="177566" y="477681"/>
                      <a:pt x="177566" y="478037"/>
                    </a:cubicBezTo>
                    <a:cubicBezTo>
                      <a:pt x="178812" y="491990"/>
                      <a:pt x="168576" y="504254"/>
                      <a:pt x="154602" y="505498"/>
                    </a:cubicBezTo>
                    <a:cubicBezTo>
                      <a:pt x="140717" y="506742"/>
                      <a:pt x="128435" y="496433"/>
                      <a:pt x="127189" y="482569"/>
                    </a:cubicBezTo>
                    <a:cubicBezTo>
                      <a:pt x="127100" y="481503"/>
                      <a:pt x="126922" y="479903"/>
                      <a:pt x="126833" y="477681"/>
                    </a:cubicBezTo>
                    <a:cubicBezTo>
                      <a:pt x="125675" y="453331"/>
                      <a:pt x="127723" y="425070"/>
                      <a:pt x="135644" y="397431"/>
                    </a:cubicBezTo>
                    <a:cubicBezTo>
                      <a:pt x="144011" y="368637"/>
                      <a:pt x="157895" y="344997"/>
                      <a:pt x="177744" y="328645"/>
                    </a:cubicBezTo>
                    <a:lnTo>
                      <a:pt x="177744" y="266346"/>
                    </a:lnTo>
                    <a:lnTo>
                      <a:pt x="151932" y="249283"/>
                    </a:lnTo>
                    <a:lnTo>
                      <a:pt x="151932" y="324734"/>
                    </a:lnTo>
                    <a:cubicBezTo>
                      <a:pt x="151932" y="354773"/>
                      <a:pt x="127456" y="379212"/>
                      <a:pt x="97372" y="379212"/>
                    </a:cubicBezTo>
                    <a:lnTo>
                      <a:pt x="54560" y="379212"/>
                    </a:lnTo>
                    <a:cubicBezTo>
                      <a:pt x="24387" y="379212"/>
                      <a:pt x="0" y="354773"/>
                      <a:pt x="0" y="324734"/>
                    </a:cubicBezTo>
                    <a:lnTo>
                      <a:pt x="0" y="155613"/>
                    </a:lnTo>
                    <a:cubicBezTo>
                      <a:pt x="0" y="126819"/>
                      <a:pt x="22340" y="103268"/>
                      <a:pt x="50644" y="101313"/>
                    </a:cubicBezTo>
                    <a:lnTo>
                      <a:pt x="50644" y="50568"/>
                    </a:lnTo>
                    <a:lnTo>
                      <a:pt x="25277" y="50568"/>
                    </a:lnTo>
                    <a:cubicBezTo>
                      <a:pt x="11304" y="50568"/>
                      <a:pt x="0" y="39281"/>
                      <a:pt x="0" y="25239"/>
                    </a:cubicBezTo>
                    <a:cubicBezTo>
                      <a:pt x="0" y="11287"/>
                      <a:pt x="11304" y="0"/>
                      <a:pt x="252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文本框">
              <a:extLst>
                <a:ext uri="{FF2B5EF4-FFF2-40B4-BE49-F238E27FC236}">
                  <a16:creationId xmlns:a16="http://schemas.microsoft.com/office/drawing/2014/main" id="{8F6DF1F0-0989-497E-9D16-40C087EDFC72}"/>
                </a:ext>
              </a:extLst>
            </p:cNvPr>
            <p:cNvSpPr/>
            <p:nvPr/>
          </p:nvSpPr>
          <p:spPr bwMode="auto">
            <a:xfrm>
              <a:off x="8887617" y="3683919"/>
              <a:ext cx="2385376" cy="514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无人机竞速世界竞标赛</a:t>
              </a:r>
            </a:p>
          </p:txBody>
        </p:sp>
        <p:grpSp>
          <p:nvGrpSpPr>
            <p:cNvPr id="75" name="组合 74">
              <a:extLst>
                <a:ext uri="{FF2B5EF4-FFF2-40B4-BE49-F238E27FC236}">
                  <a16:creationId xmlns:a16="http://schemas.microsoft.com/office/drawing/2014/main" id="{9C1A6681-6BA7-4361-8E16-7876E1F30B83}"/>
                </a:ext>
              </a:extLst>
            </p:cNvPr>
            <p:cNvGrpSpPr/>
            <p:nvPr/>
          </p:nvGrpSpPr>
          <p:grpSpPr>
            <a:xfrm>
              <a:off x="8358664" y="1807588"/>
              <a:ext cx="2914329" cy="514670"/>
              <a:chOff x="8358664" y="1807588"/>
              <a:chExt cx="2914329" cy="514670"/>
            </a:xfrm>
          </p:grpSpPr>
          <p:sp>
            <p:nvSpPr>
              <p:cNvPr id="34" name="形状">
                <a:extLst>
                  <a:ext uri="{FF2B5EF4-FFF2-40B4-BE49-F238E27FC236}">
                    <a16:creationId xmlns:a16="http://schemas.microsoft.com/office/drawing/2014/main" id="{62F5C5E2-BAA2-46D3-9675-DB1C183845E0}"/>
                  </a:ext>
                </a:extLst>
              </p:cNvPr>
              <p:cNvSpPr/>
              <p:nvPr/>
            </p:nvSpPr>
            <p:spPr>
              <a:xfrm>
                <a:off x="8358664" y="1846066"/>
                <a:ext cx="437715" cy="437715"/>
              </a:xfrm>
              <a:prstGeom prst="ellipse">
                <a:avLst/>
              </a:prstGeom>
              <a:solidFill>
                <a:srgbClr val="229AB4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文本框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8887617" y="1807588"/>
                <a:ext cx="2385376" cy="5146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微软雅黑" panose="020B0503020204020204" pitchFamily="34" charset="-122"/>
                  </a:rPr>
                  <a:t>无人机竞速国际邀请赛</a:t>
                </a:r>
                <a:endParaRPr lang="en-US" altLang="zh-CN" sz="1400" dirty="0"/>
              </a:p>
            </p:txBody>
          </p:sp>
          <p:sp>
            <p:nvSpPr>
              <p:cNvPr id="72" name="图片">
                <a:extLst>
                  <a:ext uri="{FF2B5EF4-FFF2-40B4-BE49-F238E27FC236}">
                    <a16:creationId xmlns:a16="http://schemas.microsoft.com/office/drawing/2014/main" id="{463CCCBC-0447-4639-BEE6-69463E706442}"/>
                  </a:ext>
                </a:extLst>
              </p:cNvPr>
              <p:cNvSpPr/>
              <p:nvPr/>
            </p:nvSpPr>
            <p:spPr>
              <a:xfrm>
                <a:off x="8446244" y="1933846"/>
                <a:ext cx="262554" cy="262157"/>
              </a:xfrm>
              <a:custGeom>
                <a:avLst/>
                <a:gdLst>
                  <a:gd name="connsiteX0" fmla="*/ 303820 w 607639"/>
                  <a:gd name="connsiteY0" fmla="*/ 480269 h 606722"/>
                  <a:gd name="connsiteX1" fmla="*/ 329118 w 607639"/>
                  <a:gd name="connsiteY1" fmla="*/ 505567 h 606722"/>
                  <a:gd name="connsiteX2" fmla="*/ 303820 w 607639"/>
                  <a:gd name="connsiteY2" fmla="*/ 530865 h 606722"/>
                  <a:gd name="connsiteX3" fmla="*/ 278522 w 607639"/>
                  <a:gd name="connsiteY3" fmla="*/ 505567 h 606722"/>
                  <a:gd name="connsiteX4" fmla="*/ 303820 w 607639"/>
                  <a:gd name="connsiteY4" fmla="*/ 480269 h 606722"/>
                  <a:gd name="connsiteX5" fmla="*/ 253131 w 607639"/>
                  <a:gd name="connsiteY5" fmla="*/ 455019 h 606722"/>
                  <a:gd name="connsiteX6" fmla="*/ 253131 w 607639"/>
                  <a:gd name="connsiteY6" fmla="*/ 556154 h 606722"/>
                  <a:gd name="connsiteX7" fmla="*/ 354419 w 607639"/>
                  <a:gd name="connsiteY7" fmla="*/ 556154 h 606722"/>
                  <a:gd name="connsiteX8" fmla="*/ 354419 w 607639"/>
                  <a:gd name="connsiteY8" fmla="*/ 455019 h 606722"/>
                  <a:gd name="connsiteX9" fmla="*/ 228299 w 607639"/>
                  <a:gd name="connsiteY9" fmla="*/ 202270 h 606722"/>
                  <a:gd name="connsiteX10" fmla="*/ 228299 w 607639"/>
                  <a:gd name="connsiteY10" fmla="*/ 252482 h 606722"/>
                  <a:gd name="connsiteX11" fmla="*/ 228299 w 607639"/>
                  <a:gd name="connsiteY11" fmla="*/ 252749 h 606722"/>
                  <a:gd name="connsiteX12" fmla="*/ 228299 w 607639"/>
                  <a:gd name="connsiteY12" fmla="*/ 303317 h 606722"/>
                  <a:gd name="connsiteX13" fmla="*/ 380231 w 607639"/>
                  <a:gd name="connsiteY13" fmla="*/ 303317 h 606722"/>
                  <a:gd name="connsiteX14" fmla="*/ 380231 w 607639"/>
                  <a:gd name="connsiteY14" fmla="*/ 202270 h 606722"/>
                  <a:gd name="connsiteX15" fmla="*/ 510267 w 607639"/>
                  <a:gd name="connsiteY15" fmla="*/ 151703 h 606722"/>
                  <a:gd name="connsiteX16" fmla="*/ 506351 w 607639"/>
                  <a:gd name="connsiteY16" fmla="*/ 155613 h 606722"/>
                  <a:gd name="connsiteX17" fmla="*/ 506351 w 607639"/>
                  <a:gd name="connsiteY17" fmla="*/ 324734 h 606722"/>
                  <a:gd name="connsiteX18" fmla="*/ 510267 w 607639"/>
                  <a:gd name="connsiteY18" fmla="*/ 328645 h 606722"/>
                  <a:gd name="connsiteX19" fmla="*/ 553079 w 607639"/>
                  <a:gd name="connsiteY19" fmla="*/ 328645 h 606722"/>
                  <a:gd name="connsiteX20" fmla="*/ 556995 w 607639"/>
                  <a:gd name="connsiteY20" fmla="*/ 324734 h 606722"/>
                  <a:gd name="connsiteX21" fmla="*/ 556995 w 607639"/>
                  <a:gd name="connsiteY21" fmla="*/ 155613 h 606722"/>
                  <a:gd name="connsiteX22" fmla="*/ 553079 w 607639"/>
                  <a:gd name="connsiteY22" fmla="*/ 151703 h 606722"/>
                  <a:gd name="connsiteX23" fmla="*/ 54560 w 607639"/>
                  <a:gd name="connsiteY23" fmla="*/ 151703 h 606722"/>
                  <a:gd name="connsiteX24" fmla="*/ 50644 w 607639"/>
                  <a:gd name="connsiteY24" fmla="*/ 155613 h 606722"/>
                  <a:gd name="connsiteX25" fmla="*/ 50644 w 607639"/>
                  <a:gd name="connsiteY25" fmla="*/ 324734 h 606722"/>
                  <a:gd name="connsiteX26" fmla="*/ 54560 w 607639"/>
                  <a:gd name="connsiteY26" fmla="*/ 328645 h 606722"/>
                  <a:gd name="connsiteX27" fmla="*/ 97372 w 607639"/>
                  <a:gd name="connsiteY27" fmla="*/ 328645 h 606722"/>
                  <a:gd name="connsiteX28" fmla="*/ 101288 w 607639"/>
                  <a:gd name="connsiteY28" fmla="*/ 324734 h 606722"/>
                  <a:gd name="connsiteX29" fmla="*/ 101288 w 607639"/>
                  <a:gd name="connsiteY29" fmla="*/ 202537 h 606722"/>
                  <a:gd name="connsiteX30" fmla="*/ 101288 w 607639"/>
                  <a:gd name="connsiteY30" fmla="*/ 202359 h 606722"/>
                  <a:gd name="connsiteX31" fmla="*/ 101288 w 607639"/>
                  <a:gd name="connsiteY31" fmla="*/ 155613 h 606722"/>
                  <a:gd name="connsiteX32" fmla="*/ 97372 w 607639"/>
                  <a:gd name="connsiteY32" fmla="*/ 151703 h 606722"/>
                  <a:gd name="connsiteX33" fmla="*/ 25277 w 607639"/>
                  <a:gd name="connsiteY33" fmla="*/ 0 h 606722"/>
                  <a:gd name="connsiteX34" fmla="*/ 126566 w 607639"/>
                  <a:gd name="connsiteY34" fmla="*/ 0 h 606722"/>
                  <a:gd name="connsiteX35" fmla="*/ 151932 w 607639"/>
                  <a:gd name="connsiteY35" fmla="*/ 25239 h 606722"/>
                  <a:gd name="connsiteX36" fmla="*/ 126566 w 607639"/>
                  <a:gd name="connsiteY36" fmla="*/ 50568 h 606722"/>
                  <a:gd name="connsiteX37" fmla="*/ 101288 w 607639"/>
                  <a:gd name="connsiteY37" fmla="*/ 50568 h 606722"/>
                  <a:gd name="connsiteX38" fmla="*/ 101288 w 607639"/>
                  <a:gd name="connsiteY38" fmla="*/ 101313 h 606722"/>
                  <a:gd name="connsiteX39" fmla="*/ 151932 w 607639"/>
                  <a:gd name="connsiteY39" fmla="*/ 155613 h 606722"/>
                  <a:gd name="connsiteX40" fmla="*/ 151932 w 607639"/>
                  <a:gd name="connsiteY40" fmla="*/ 188673 h 606722"/>
                  <a:gd name="connsiteX41" fmla="*/ 177744 w 607639"/>
                  <a:gd name="connsiteY41" fmla="*/ 205736 h 606722"/>
                  <a:gd name="connsiteX42" fmla="*/ 177744 w 607639"/>
                  <a:gd name="connsiteY42" fmla="*/ 176942 h 606722"/>
                  <a:gd name="connsiteX43" fmla="*/ 203021 w 607639"/>
                  <a:gd name="connsiteY43" fmla="*/ 151703 h 606722"/>
                  <a:gd name="connsiteX44" fmla="*/ 405597 w 607639"/>
                  <a:gd name="connsiteY44" fmla="*/ 151703 h 606722"/>
                  <a:gd name="connsiteX45" fmla="*/ 430875 w 607639"/>
                  <a:gd name="connsiteY45" fmla="*/ 176942 h 606722"/>
                  <a:gd name="connsiteX46" fmla="*/ 430875 w 607639"/>
                  <a:gd name="connsiteY46" fmla="*/ 205381 h 606722"/>
                  <a:gd name="connsiteX47" fmla="*/ 455707 w 607639"/>
                  <a:gd name="connsiteY47" fmla="*/ 188762 h 606722"/>
                  <a:gd name="connsiteX48" fmla="*/ 455707 w 607639"/>
                  <a:gd name="connsiteY48" fmla="*/ 155613 h 606722"/>
                  <a:gd name="connsiteX49" fmla="*/ 506351 w 607639"/>
                  <a:gd name="connsiteY49" fmla="*/ 101313 h 606722"/>
                  <a:gd name="connsiteX50" fmla="*/ 506351 w 607639"/>
                  <a:gd name="connsiteY50" fmla="*/ 50568 h 606722"/>
                  <a:gd name="connsiteX51" fmla="*/ 480984 w 607639"/>
                  <a:gd name="connsiteY51" fmla="*/ 50568 h 606722"/>
                  <a:gd name="connsiteX52" fmla="*/ 455707 w 607639"/>
                  <a:gd name="connsiteY52" fmla="*/ 25239 h 606722"/>
                  <a:gd name="connsiteX53" fmla="*/ 480984 w 607639"/>
                  <a:gd name="connsiteY53" fmla="*/ 0 h 606722"/>
                  <a:gd name="connsiteX54" fmla="*/ 582272 w 607639"/>
                  <a:gd name="connsiteY54" fmla="*/ 0 h 606722"/>
                  <a:gd name="connsiteX55" fmla="*/ 607639 w 607639"/>
                  <a:gd name="connsiteY55" fmla="*/ 25239 h 606722"/>
                  <a:gd name="connsiteX56" fmla="*/ 582272 w 607639"/>
                  <a:gd name="connsiteY56" fmla="*/ 50568 h 606722"/>
                  <a:gd name="connsiteX57" fmla="*/ 556995 w 607639"/>
                  <a:gd name="connsiteY57" fmla="*/ 50568 h 606722"/>
                  <a:gd name="connsiteX58" fmla="*/ 556995 w 607639"/>
                  <a:gd name="connsiteY58" fmla="*/ 101313 h 606722"/>
                  <a:gd name="connsiteX59" fmla="*/ 607639 w 607639"/>
                  <a:gd name="connsiteY59" fmla="*/ 155613 h 606722"/>
                  <a:gd name="connsiteX60" fmla="*/ 607639 w 607639"/>
                  <a:gd name="connsiteY60" fmla="*/ 324734 h 606722"/>
                  <a:gd name="connsiteX61" fmla="*/ 553079 w 607639"/>
                  <a:gd name="connsiteY61" fmla="*/ 379212 h 606722"/>
                  <a:gd name="connsiteX62" fmla="*/ 510267 w 607639"/>
                  <a:gd name="connsiteY62" fmla="*/ 379212 h 606722"/>
                  <a:gd name="connsiteX63" fmla="*/ 455707 w 607639"/>
                  <a:gd name="connsiteY63" fmla="*/ 324734 h 606722"/>
                  <a:gd name="connsiteX64" fmla="*/ 455707 w 607639"/>
                  <a:gd name="connsiteY64" fmla="*/ 249639 h 606722"/>
                  <a:gd name="connsiteX65" fmla="*/ 430875 w 607639"/>
                  <a:gd name="connsiteY65" fmla="*/ 266257 h 606722"/>
                  <a:gd name="connsiteX66" fmla="*/ 430875 w 607639"/>
                  <a:gd name="connsiteY66" fmla="*/ 328645 h 606722"/>
                  <a:gd name="connsiteX67" fmla="*/ 472885 w 607639"/>
                  <a:gd name="connsiteY67" fmla="*/ 397431 h 606722"/>
                  <a:gd name="connsiteX68" fmla="*/ 481697 w 607639"/>
                  <a:gd name="connsiteY68" fmla="*/ 477681 h 606722"/>
                  <a:gd name="connsiteX69" fmla="*/ 481430 w 607639"/>
                  <a:gd name="connsiteY69" fmla="*/ 482569 h 606722"/>
                  <a:gd name="connsiteX70" fmla="*/ 453927 w 607639"/>
                  <a:gd name="connsiteY70" fmla="*/ 505498 h 606722"/>
                  <a:gd name="connsiteX71" fmla="*/ 430964 w 607639"/>
                  <a:gd name="connsiteY71" fmla="*/ 478037 h 606722"/>
                  <a:gd name="connsiteX72" fmla="*/ 431142 w 607639"/>
                  <a:gd name="connsiteY72" fmla="*/ 475193 h 606722"/>
                  <a:gd name="connsiteX73" fmla="*/ 424288 w 607639"/>
                  <a:gd name="connsiteY73" fmla="*/ 411473 h 606722"/>
                  <a:gd name="connsiteX74" fmla="*/ 354953 w 607639"/>
                  <a:gd name="connsiteY74" fmla="*/ 353884 h 606722"/>
                  <a:gd name="connsiteX75" fmla="*/ 329498 w 607639"/>
                  <a:gd name="connsiteY75" fmla="*/ 353884 h 606722"/>
                  <a:gd name="connsiteX76" fmla="*/ 329230 w 607639"/>
                  <a:gd name="connsiteY76" fmla="*/ 404452 h 606722"/>
                  <a:gd name="connsiteX77" fmla="*/ 379786 w 607639"/>
                  <a:gd name="connsiteY77" fmla="*/ 404452 h 606722"/>
                  <a:gd name="connsiteX78" fmla="*/ 405063 w 607639"/>
                  <a:gd name="connsiteY78" fmla="*/ 429780 h 606722"/>
                  <a:gd name="connsiteX79" fmla="*/ 405063 w 607639"/>
                  <a:gd name="connsiteY79" fmla="*/ 581394 h 606722"/>
                  <a:gd name="connsiteX80" fmla="*/ 379786 w 607639"/>
                  <a:gd name="connsiteY80" fmla="*/ 606722 h 606722"/>
                  <a:gd name="connsiteX81" fmla="*/ 227854 w 607639"/>
                  <a:gd name="connsiteY81" fmla="*/ 606722 h 606722"/>
                  <a:gd name="connsiteX82" fmla="*/ 202576 w 607639"/>
                  <a:gd name="connsiteY82" fmla="*/ 581394 h 606722"/>
                  <a:gd name="connsiteX83" fmla="*/ 202576 w 607639"/>
                  <a:gd name="connsiteY83" fmla="*/ 429780 h 606722"/>
                  <a:gd name="connsiteX84" fmla="*/ 227854 w 607639"/>
                  <a:gd name="connsiteY84" fmla="*/ 404452 h 606722"/>
                  <a:gd name="connsiteX85" fmla="*/ 278586 w 607639"/>
                  <a:gd name="connsiteY85" fmla="*/ 404452 h 606722"/>
                  <a:gd name="connsiteX86" fmla="*/ 278854 w 607639"/>
                  <a:gd name="connsiteY86" fmla="*/ 353884 h 606722"/>
                  <a:gd name="connsiteX87" fmla="*/ 253665 w 607639"/>
                  <a:gd name="connsiteY87" fmla="*/ 353884 h 606722"/>
                  <a:gd name="connsiteX88" fmla="*/ 184330 w 607639"/>
                  <a:gd name="connsiteY88" fmla="*/ 411473 h 606722"/>
                  <a:gd name="connsiteX89" fmla="*/ 177388 w 607639"/>
                  <a:gd name="connsiteY89" fmla="*/ 475193 h 606722"/>
                  <a:gd name="connsiteX90" fmla="*/ 177566 w 607639"/>
                  <a:gd name="connsiteY90" fmla="*/ 478037 h 606722"/>
                  <a:gd name="connsiteX91" fmla="*/ 154602 w 607639"/>
                  <a:gd name="connsiteY91" fmla="*/ 505498 h 606722"/>
                  <a:gd name="connsiteX92" fmla="*/ 127189 w 607639"/>
                  <a:gd name="connsiteY92" fmla="*/ 482569 h 606722"/>
                  <a:gd name="connsiteX93" fmla="*/ 126833 w 607639"/>
                  <a:gd name="connsiteY93" fmla="*/ 477681 h 606722"/>
                  <a:gd name="connsiteX94" fmla="*/ 135644 w 607639"/>
                  <a:gd name="connsiteY94" fmla="*/ 397431 h 606722"/>
                  <a:gd name="connsiteX95" fmla="*/ 177744 w 607639"/>
                  <a:gd name="connsiteY95" fmla="*/ 328645 h 606722"/>
                  <a:gd name="connsiteX96" fmla="*/ 177744 w 607639"/>
                  <a:gd name="connsiteY96" fmla="*/ 266346 h 606722"/>
                  <a:gd name="connsiteX97" fmla="*/ 151932 w 607639"/>
                  <a:gd name="connsiteY97" fmla="*/ 249283 h 606722"/>
                  <a:gd name="connsiteX98" fmla="*/ 151932 w 607639"/>
                  <a:gd name="connsiteY98" fmla="*/ 324734 h 606722"/>
                  <a:gd name="connsiteX99" fmla="*/ 97372 w 607639"/>
                  <a:gd name="connsiteY99" fmla="*/ 379212 h 606722"/>
                  <a:gd name="connsiteX100" fmla="*/ 54560 w 607639"/>
                  <a:gd name="connsiteY100" fmla="*/ 379212 h 606722"/>
                  <a:gd name="connsiteX101" fmla="*/ 0 w 607639"/>
                  <a:gd name="connsiteY101" fmla="*/ 324734 h 606722"/>
                  <a:gd name="connsiteX102" fmla="*/ 0 w 607639"/>
                  <a:gd name="connsiteY102" fmla="*/ 155613 h 606722"/>
                  <a:gd name="connsiteX103" fmla="*/ 50644 w 607639"/>
                  <a:gd name="connsiteY103" fmla="*/ 101313 h 606722"/>
                  <a:gd name="connsiteX104" fmla="*/ 50644 w 607639"/>
                  <a:gd name="connsiteY104" fmla="*/ 50568 h 606722"/>
                  <a:gd name="connsiteX105" fmla="*/ 25277 w 607639"/>
                  <a:gd name="connsiteY105" fmla="*/ 50568 h 606722"/>
                  <a:gd name="connsiteX106" fmla="*/ 0 w 607639"/>
                  <a:gd name="connsiteY106" fmla="*/ 25239 h 606722"/>
                  <a:gd name="connsiteX107" fmla="*/ 25277 w 607639"/>
                  <a:gd name="connsiteY10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607639" h="606722">
                    <a:moveTo>
                      <a:pt x="303820" y="480269"/>
                    </a:moveTo>
                    <a:cubicBezTo>
                      <a:pt x="317792" y="480269"/>
                      <a:pt x="329118" y="491595"/>
                      <a:pt x="329118" y="505567"/>
                    </a:cubicBezTo>
                    <a:cubicBezTo>
                      <a:pt x="329118" y="519539"/>
                      <a:pt x="317792" y="530865"/>
                      <a:pt x="303820" y="530865"/>
                    </a:cubicBezTo>
                    <a:cubicBezTo>
                      <a:pt x="289848" y="530865"/>
                      <a:pt x="278522" y="519539"/>
                      <a:pt x="278522" y="505567"/>
                    </a:cubicBezTo>
                    <a:cubicBezTo>
                      <a:pt x="278522" y="491595"/>
                      <a:pt x="289848" y="480269"/>
                      <a:pt x="303820" y="480269"/>
                    </a:cubicBezTo>
                    <a:close/>
                    <a:moveTo>
                      <a:pt x="253131" y="455019"/>
                    </a:moveTo>
                    <a:lnTo>
                      <a:pt x="253131" y="556154"/>
                    </a:lnTo>
                    <a:lnTo>
                      <a:pt x="354419" y="556154"/>
                    </a:lnTo>
                    <a:lnTo>
                      <a:pt x="354419" y="455019"/>
                    </a:lnTo>
                    <a:close/>
                    <a:moveTo>
                      <a:pt x="228299" y="202270"/>
                    </a:moveTo>
                    <a:lnTo>
                      <a:pt x="228299" y="252482"/>
                    </a:lnTo>
                    <a:cubicBezTo>
                      <a:pt x="228299" y="252571"/>
                      <a:pt x="228299" y="252660"/>
                      <a:pt x="228299" y="252749"/>
                    </a:cubicBezTo>
                    <a:lnTo>
                      <a:pt x="228299" y="303317"/>
                    </a:lnTo>
                    <a:lnTo>
                      <a:pt x="380231" y="303317"/>
                    </a:lnTo>
                    <a:lnTo>
                      <a:pt x="380231" y="202270"/>
                    </a:lnTo>
                    <a:close/>
                    <a:moveTo>
                      <a:pt x="510267" y="151703"/>
                    </a:moveTo>
                    <a:cubicBezTo>
                      <a:pt x="508131" y="151703"/>
                      <a:pt x="506351" y="153391"/>
                      <a:pt x="506351" y="155613"/>
                    </a:cubicBezTo>
                    <a:lnTo>
                      <a:pt x="506351" y="324734"/>
                    </a:lnTo>
                    <a:cubicBezTo>
                      <a:pt x="506351" y="326867"/>
                      <a:pt x="508131" y="328645"/>
                      <a:pt x="510267" y="328645"/>
                    </a:cubicBezTo>
                    <a:lnTo>
                      <a:pt x="553079" y="328645"/>
                    </a:lnTo>
                    <a:cubicBezTo>
                      <a:pt x="555215" y="328645"/>
                      <a:pt x="556995" y="326867"/>
                      <a:pt x="556995" y="324734"/>
                    </a:cubicBezTo>
                    <a:lnTo>
                      <a:pt x="556995" y="155613"/>
                    </a:lnTo>
                    <a:cubicBezTo>
                      <a:pt x="556995" y="153391"/>
                      <a:pt x="555215" y="151703"/>
                      <a:pt x="553079" y="151703"/>
                    </a:cubicBezTo>
                    <a:close/>
                    <a:moveTo>
                      <a:pt x="54560" y="151703"/>
                    </a:moveTo>
                    <a:cubicBezTo>
                      <a:pt x="52424" y="151703"/>
                      <a:pt x="50644" y="153391"/>
                      <a:pt x="50644" y="155613"/>
                    </a:cubicBezTo>
                    <a:lnTo>
                      <a:pt x="50644" y="324734"/>
                    </a:lnTo>
                    <a:cubicBezTo>
                      <a:pt x="50644" y="326867"/>
                      <a:pt x="52424" y="328645"/>
                      <a:pt x="54560" y="328645"/>
                    </a:cubicBezTo>
                    <a:lnTo>
                      <a:pt x="97372" y="328645"/>
                    </a:lnTo>
                    <a:cubicBezTo>
                      <a:pt x="99508" y="328645"/>
                      <a:pt x="101288" y="326867"/>
                      <a:pt x="101288" y="324734"/>
                    </a:cubicBezTo>
                    <a:lnTo>
                      <a:pt x="101288" y="202537"/>
                    </a:lnTo>
                    <a:cubicBezTo>
                      <a:pt x="101288" y="202448"/>
                      <a:pt x="101288" y="202359"/>
                      <a:pt x="101288" y="202359"/>
                    </a:cubicBezTo>
                    <a:lnTo>
                      <a:pt x="101288" y="155613"/>
                    </a:lnTo>
                    <a:cubicBezTo>
                      <a:pt x="101288" y="153391"/>
                      <a:pt x="99508" y="151703"/>
                      <a:pt x="97372" y="151703"/>
                    </a:cubicBezTo>
                    <a:close/>
                    <a:moveTo>
                      <a:pt x="25277" y="0"/>
                    </a:moveTo>
                    <a:lnTo>
                      <a:pt x="126566" y="0"/>
                    </a:lnTo>
                    <a:cubicBezTo>
                      <a:pt x="140539" y="0"/>
                      <a:pt x="151932" y="11287"/>
                      <a:pt x="151932" y="25239"/>
                    </a:cubicBezTo>
                    <a:cubicBezTo>
                      <a:pt x="151932" y="39281"/>
                      <a:pt x="140539" y="50568"/>
                      <a:pt x="126566" y="50568"/>
                    </a:cubicBezTo>
                    <a:lnTo>
                      <a:pt x="101288" y="50568"/>
                    </a:lnTo>
                    <a:lnTo>
                      <a:pt x="101288" y="101313"/>
                    </a:lnTo>
                    <a:cubicBezTo>
                      <a:pt x="129592" y="103268"/>
                      <a:pt x="151932" y="126819"/>
                      <a:pt x="151932" y="155613"/>
                    </a:cubicBezTo>
                    <a:lnTo>
                      <a:pt x="151932" y="188673"/>
                    </a:lnTo>
                    <a:lnTo>
                      <a:pt x="177744" y="205736"/>
                    </a:lnTo>
                    <a:lnTo>
                      <a:pt x="177744" y="176942"/>
                    </a:lnTo>
                    <a:cubicBezTo>
                      <a:pt x="177744" y="162989"/>
                      <a:pt x="189047" y="151703"/>
                      <a:pt x="203021" y="151703"/>
                    </a:cubicBezTo>
                    <a:lnTo>
                      <a:pt x="405597" y="151703"/>
                    </a:lnTo>
                    <a:cubicBezTo>
                      <a:pt x="419571" y="151703"/>
                      <a:pt x="430875" y="162989"/>
                      <a:pt x="430875" y="176942"/>
                    </a:cubicBezTo>
                    <a:lnTo>
                      <a:pt x="430875" y="205381"/>
                    </a:lnTo>
                    <a:lnTo>
                      <a:pt x="455707" y="188762"/>
                    </a:lnTo>
                    <a:lnTo>
                      <a:pt x="455707" y="155613"/>
                    </a:lnTo>
                    <a:cubicBezTo>
                      <a:pt x="455707" y="126819"/>
                      <a:pt x="478047" y="103268"/>
                      <a:pt x="506351" y="101313"/>
                    </a:cubicBezTo>
                    <a:lnTo>
                      <a:pt x="506351" y="50568"/>
                    </a:lnTo>
                    <a:lnTo>
                      <a:pt x="480984" y="50568"/>
                    </a:lnTo>
                    <a:cubicBezTo>
                      <a:pt x="467011" y="50568"/>
                      <a:pt x="455707" y="39281"/>
                      <a:pt x="455707" y="25239"/>
                    </a:cubicBezTo>
                    <a:cubicBezTo>
                      <a:pt x="455707" y="11287"/>
                      <a:pt x="467011" y="0"/>
                      <a:pt x="480984" y="0"/>
                    </a:cubicBezTo>
                    <a:lnTo>
                      <a:pt x="582272" y="0"/>
                    </a:lnTo>
                    <a:cubicBezTo>
                      <a:pt x="596246" y="0"/>
                      <a:pt x="607639" y="11287"/>
                      <a:pt x="607639" y="25239"/>
                    </a:cubicBezTo>
                    <a:cubicBezTo>
                      <a:pt x="607639" y="39281"/>
                      <a:pt x="596246" y="50568"/>
                      <a:pt x="582272" y="50568"/>
                    </a:cubicBezTo>
                    <a:lnTo>
                      <a:pt x="556995" y="50568"/>
                    </a:lnTo>
                    <a:lnTo>
                      <a:pt x="556995" y="101313"/>
                    </a:lnTo>
                    <a:cubicBezTo>
                      <a:pt x="585299" y="103268"/>
                      <a:pt x="607639" y="126819"/>
                      <a:pt x="607639" y="155613"/>
                    </a:cubicBezTo>
                    <a:lnTo>
                      <a:pt x="607639" y="324734"/>
                    </a:lnTo>
                    <a:cubicBezTo>
                      <a:pt x="607639" y="354773"/>
                      <a:pt x="583163" y="379212"/>
                      <a:pt x="553079" y="379212"/>
                    </a:cubicBezTo>
                    <a:lnTo>
                      <a:pt x="510267" y="379212"/>
                    </a:lnTo>
                    <a:cubicBezTo>
                      <a:pt x="480094" y="379212"/>
                      <a:pt x="455707" y="354773"/>
                      <a:pt x="455707" y="324734"/>
                    </a:cubicBezTo>
                    <a:lnTo>
                      <a:pt x="455707" y="249639"/>
                    </a:lnTo>
                    <a:lnTo>
                      <a:pt x="430875" y="266257"/>
                    </a:lnTo>
                    <a:lnTo>
                      <a:pt x="430875" y="328645"/>
                    </a:lnTo>
                    <a:cubicBezTo>
                      <a:pt x="450634" y="344997"/>
                      <a:pt x="464519" y="368637"/>
                      <a:pt x="472885" y="397431"/>
                    </a:cubicBezTo>
                    <a:cubicBezTo>
                      <a:pt x="480896" y="425070"/>
                      <a:pt x="482943" y="453331"/>
                      <a:pt x="481697" y="477681"/>
                    </a:cubicBezTo>
                    <a:cubicBezTo>
                      <a:pt x="481608" y="479903"/>
                      <a:pt x="481519" y="481503"/>
                      <a:pt x="481430" y="482569"/>
                    </a:cubicBezTo>
                    <a:cubicBezTo>
                      <a:pt x="480183" y="496433"/>
                      <a:pt x="467901" y="506742"/>
                      <a:pt x="453927" y="505498"/>
                    </a:cubicBezTo>
                    <a:cubicBezTo>
                      <a:pt x="440042" y="504254"/>
                      <a:pt x="429717" y="491990"/>
                      <a:pt x="430964" y="478037"/>
                    </a:cubicBezTo>
                    <a:cubicBezTo>
                      <a:pt x="430964" y="477681"/>
                      <a:pt x="431053" y="476704"/>
                      <a:pt x="431142" y="475193"/>
                    </a:cubicBezTo>
                    <a:cubicBezTo>
                      <a:pt x="432121" y="455908"/>
                      <a:pt x="430430" y="432890"/>
                      <a:pt x="424288" y="411473"/>
                    </a:cubicBezTo>
                    <a:cubicBezTo>
                      <a:pt x="413430" y="373969"/>
                      <a:pt x="392424" y="353884"/>
                      <a:pt x="354953" y="353884"/>
                    </a:cubicBezTo>
                    <a:lnTo>
                      <a:pt x="329498" y="353884"/>
                    </a:lnTo>
                    <a:lnTo>
                      <a:pt x="329230" y="404452"/>
                    </a:lnTo>
                    <a:lnTo>
                      <a:pt x="379786" y="404452"/>
                    </a:lnTo>
                    <a:cubicBezTo>
                      <a:pt x="393759" y="404452"/>
                      <a:pt x="405063" y="415827"/>
                      <a:pt x="405063" y="429780"/>
                    </a:cubicBezTo>
                    <a:lnTo>
                      <a:pt x="405063" y="581394"/>
                    </a:lnTo>
                    <a:cubicBezTo>
                      <a:pt x="405063" y="595347"/>
                      <a:pt x="393759" y="606722"/>
                      <a:pt x="379786" y="606722"/>
                    </a:cubicBezTo>
                    <a:lnTo>
                      <a:pt x="227854" y="606722"/>
                    </a:lnTo>
                    <a:cubicBezTo>
                      <a:pt x="213880" y="606722"/>
                      <a:pt x="202576" y="595347"/>
                      <a:pt x="202576" y="581394"/>
                    </a:cubicBezTo>
                    <a:lnTo>
                      <a:pt x="202576" y="429780"/>
                    </a:lnTo>
                    <a:cubicBezTo>
                      <a:pt x="202576" y="415827"/>
                      <a:pt x="213880" y="404452"/>
                      <a:pt x="227854" y="404452"/>
                    </a:cubicBezTo>
                    <a:lnTo>
                      <a:pt x="278586" y="404452"/>
                    </a:lnTo>
                    <a:lnTo>
                      <a:pt x="278854" y="353884"/>
                    </a:lnTo>
                    <a:lnTo>
                      <a:pt x="253665" y="353884"/>
                    </a:lnTo>
                    <a:cubicBezTo>
                      <a:pt x="216194" y="353884"/>
                      <a:pt x="195189" y="373969"/>
                      <a:pt x="184330" y="411473"/>
                    </a:cubicBezTo>
                    <a:cubicBezTo>
                      <a:pt x="178100" y="432890"/>
                      <a:pt x="176497" y="455908"/>
                      <a:pt x="177388" y="475193"/>
                    </a:cubicBezTo>
                    <a:cubicBezTo>
                      <a:pt x="177477" y="476704"/>
                      <a:pt x="177566" y="477681"/>
                      <a:pt x="177566" y="478037"/>
                    </a:cubicBezTo>
                    <a:cubicBezTo>
                      <a:pt x="178812" y="491990"/>
                      <a:pt x="168576" y="504254"/>
                      <a:pt x="154602" y="505498"/>
                    </a:cubicBezTo>
                    <a:cubicBezTo>
                      <a:pt x="140717" y="506742"/>
                      <a:pt x="128435" y="496433"/>
                      <a:pt x="127189" y="482569"/>
                    </a:cubicBezTo>
                    <a:cubicBezTo>
                      <a:pt x="127100" y="481503"/>
                      <a:pt x="126922" y="479903"/>
                      <a:pt x="126833" y="477681"/>
                    </a:cubicBezTo>
                    <a:cubicBezTo>
                      <a:pt x="125675" y="453331"/>
                      <a:pt x="127723" y="425070"/>
                      <a:pt x="135644" y="397431"/>
                    </a:cubicBezTo>
                    <a:cubicBezTo>
                      <a:pt x="144011" y="368637"/>
                      <a:pt x="157895" y="344997"/>
                      <a:pt x="177744" y="328645"/>
                    </a:cubicBezTo>
                    <a:lnTo>
                      <a:pt x="177744" y="266346"/>
                    </a:lnTo>
                    <a:lnTo>
                      <a:pt x="151932" y="249283"/>
                    </a:lnTo>
                    <a:lnTo>
                      <a:pt x="151932" y="324734"/>
                    </a:lnTo>
                    <a:cubicBezTo>
                      <a:pt x="151932" y="354773"/>
                      <a:pt x="127456" y="379212"/>
                      <a:pt x="97372" y="379212"/>
                    </a:cubicBezTo>
                    <a:lnTo>
                      <a:pt x="54560" y="379212"/>
                    </a:lnTo>
                    <a:cubicBezTo>
                      <a:pt x="24387" y="379212"/>
                      <a:pt x="0" y="354773"/>
                      <a:pt x="0" y="324734"/>
                    </a:cubicBezTo>
                    <a:lnTo>
                      <a:pt x="0" y="155613"/>
                    </a:lnTo>
                    <a:cubicBezTo>
                      <a:pt x="0" y="126819"/>
                      <a:pt x="22340" y="103268"/>
                      <a:pt x="50644" y="101313"/>
                    </a:cubicBezTo>
                    <a:lnTo>
                      <a:pt x="50644" y="50568"/>
                    </a:lnTo>
                    <a:lnTo>
                      <a:pt x="25277" y="50568"/>
                    </a:lnTo>
                    <a:cubicBezTo>
                      <a:pt x="11304" y="50568"/>
                      <a:pt x="0" y="39281"/>
                      <a:pt x="0" y="25239"/>
                    </a:cubicBezTo>
                    <a:cubicBezTo>
                      <a:pt x="0" y="11287"/>
                      <a:pt x="11304" y="0"/>
                      <a:pt x="252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46EE5780-CB5B-441D-A5A6-BDA30DB32B2C}"/>
                </a:ext>
              </a:extLst>
            </p:cNvPr>
            <p:cNvGrpSpPr/>
            <p:nvPr/>
          </p:nvGrpSpPr>
          <p:grpSpPr>
            <a:xfrm>
              <a:off x="8358664" y="5560250"/>
              <a:ext cx="2914329" cy="514670"/>
              <a:chOff x="8358664" y="5560250"/>
              <a:chExt cx="2914329" cy="514670"/>
            </a:xfrm>
          </p:grpSpPr>
          <p:sp>
            <p:nvSpPr>
              <p:cNvPr id="26" name="形状">
                <a:extLst>
                  <a:ext uri="{FF2B5EF4-FFF2-40B4-BE49-F238E27FC236}">
                    <a16:creationId xmlns:a16="http://schemas.microsoft.com/office/drawing/2014/main" id="{94CB1365-6F3C-45ED-8B14-B8DAF49C7049}"/>
                  </a:ext>
                </a:extLst>
              </p:cNvPr>
              <p:cNvSpPr/>
              <p:nvPr/>
            </p:nvSpPr>
            <p:spPr>
              <a:xfrm>
                <a:off x="8358664" y="5598728"/>
                <a:ext cx="437715" cy="437715"/>
              </a:xfrm>
              <a:prstGeom prst="ellipse">
                <a:avLst/>
              </a:prstGeom>
              <a:solidFill>
                <a:srgbClr val="229AB4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文本框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8887617" y="5560250"/>
                <a:ext cx="2385376" cy="5146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微软雅黑" panose="020B0503020204020204" pitchFamily="34" charset="-122"/>
                  </a:rPr>
                  <a:t>无人机竞速国际挑战赛</a:t>
                </a:r>
                <a:endParaRPr lang="en-US" altLang="zh-CN" sz="1400" dirty="0"/>
              </a:p>
            </p:txBody>
          </p:sp>
          <p:sp>
            <p:nvSpPr>
              <p:cNvPr id="74" name="图片">
                <a:extLst>
                  <a:ext uri="{FF2B5EF4-FFF2-40B4-BE49-F238E27FC236}">
                    <a16:creationId xmlns:a16="http://schemas.microsoft.com/office/drawing/2014/main" id="{F238A7CB-A1BD-4449-93D9-52B3D02B1AF9}"/>
                  </a:ext>
                </a:extLst>
              </p:cNvPr>
              <p:cNvSpPr/>
              <p:nvPr/>
            </p:nvSpPr>
            <p:spPr>
              <a:xfrm>
                <a:off x="8446244" y="5686508"/>
                <a:ext cx="262554" cy="262157"/>
              </a:xfrm>
              <a:custGeom>
                <a:avLst/>
                <a:gdLst>
                  <a:gd name="connsiteX0" fmla="*/ 303820 w 607639"/>
                  <a:gd name="connsiteY0" fmla="*/ 480269 h 606722"/>
                  <a:gd name="connsiteX1" fmla="*/ 329118 w 607639"/>
                  <a:gd name="connsiteY1" fmla="*/ 505567 h 606722"/>
                  <a:gd name="connsiteX2" fmla="*/ 303820 w 607639"/>
                  <a:gd name="connsiteY2" fmla="*/ 530865 h 606722"/>
                  <a:gd name="connsiteX3" fmla="*/ 278522 w 607639"/>
                  <a:gd name="connsiteY3" fmla="*/ 505567 h 606722"/>
                  <a:gd name="connsiteX4" fmla="*/ 303820 w 607639"/>
                  <a:gd name="connsiteY4" fmla="*/ 480269 h 606722"/>
                  <a:gd name="connsiteX5" fmla="*/ 253131 w 607639"/>
                  <a:gd name="connsiteY5" fmla="*/ 455019 h 606722"/>
                  <a:gd name="connsiteX6" fmla="*/ 253131 w 607639"/>
                  <a:gd name="connsiteY6" fmla="*/ 556154 h 606722"/>
                  <a:gd name="connsiteX7" fmla="*/ 354419 w 607639"/>
                  <a:gd name="connsiteY7" fmla="*/ 556154 h 606722"/>
                  <a:gd name="connsiteX8" fmla="*/ 354419 w 607639"/>
                  <a:gd name="connsiteY8" fmla="*/ 455019 h 606722"/>
                  <a:gd name="connsiteX9" fmla="*/ 228299 w 607639"/>
                  <a:gd name="connsiteY9" fmla="*/ 202270 h 606722"/>
                  <a:gd name="connsiteX10" fmla="*/ 228299 w 607639"/>
                  <a:gd name="connsiteY10" fmla="*/ 252482 h 606722"/>
                  <a:gd name="connsiteX11" fmla="*/ 228299 w 607639"/>
                  <a:gd name="connsiteY11" fmla="*/ 252749 h 606722"/>
                  <a:gd name="connsiteX12" fmla="*/ 228299 w 607639"/>
                  <a:gd name="connsiteY12" fmla="*/ 303317 h 606722"/>
                  <a:gd name="connsiteX13" fmla="*/ 380231 w 607639"/>
                  <a:gd name="connsiteY13" fmla="*/ 303317 h 606722"/>
                  <a:gd name="connsiteX14" fmla="*/ 380231 w 607639"/>
                  <a:gd name="connsiteY14" fmla="*/ 202270 h 606722"/>
                  <a:gd name="connsiteX15" fmla="*/ 510267 w 607639"/>
                  <a:gd name="connsiteY15" fmla="*/ 151703 h 606722"/>
                  <a:gd name="connsiteX16" fmla="*/ 506351 w 607639"/>
                  <a:gd name="connsiteY16" fmla="*/ 155613 h 606722"/>
                  <a:gd name="connsiteX17" fmla="*/ 506351 w 607639"/>
                  <a:gd name="connsiteY17" fmla="*/ 324734 h 606722"/>
                  <a:gd name="connsiteX18" fmla="*/ 510267 w 607639"/>
                  <a:gd name="connsiteY18" fmla="*/ 328645 h 606722"/>
                  <a:gd name="connsiteX19" fmla="*/ 553079 w 607639"/>
                  <a:gd name="connsiteY19" fmla="*/ 328645 h 606722"/>
                  <a:gd name="connsiteX20" fmla="*/ 556995 w 607639"/>
                  <a:gd name="connsiteY20" fmla="*/ 324734 h 606722"/>
                  <a:gd name="connsiteX21" fmla="*/ 556995 w 607639"/>
                  <a:gd name="connsiteY21" fmla="*/ 155613 h 606722"/>
                  <a:gd name="connsiteX22" fmla="*/ 553079 w 607639"/>
                  <a:gd name="connsiteY22" fmla="*/ 151703 h 606722"/>
                  <a:gd name="connsiteX23" fmla="*/ 54560 w 607639"/>
                  <a:gd name="connsiteY23" fmla="*/ 151703 h 606722"/>
                  <a:gd name="connsiteX24" fmla="*/ 50644 w 607639"/>
                  <a:gd name="connsiteY24" fmla="*/ 155613 h 606722"/>
                  <a:gd name="connsiteX25" fmla="*/ 50644 w 607639"/>
                  <a:gd name="connsiteY25" fmla="*/ 324734 h 606722"/>
                  <a:gd name="connsiteX26" fmla="*/ 54560 w 607639"/>
                  <a:gd name="connsiteY26" fmla="*/ 328645 h 606722"/>
                  <a:gd name="connsiteX27" fmla="*/ 97372 w 607639"/>
                  <a:gd name="connsiteY27" fmla="*/ 328645 h 606722"/>
                  <a:gd name="connsiteX28" fmla="*/ 101288 w 607639"/>
                  <a:gd name="connsiteY28" fmla="*/ 324734 h 606722"/>
                  <a:gd name="connsiteX29" fmla="*/ 101288 w 607639"/>
                  <a:gd name="connsiteY29" fmla="*/ 202537 h 606722"/>
                  <a:gd name="connsiteX30" fmla="*/ 101288 w 607639"/>
                  <a:gd name="connsiteY30" fmla="*/ 202359 h 606722"/>
                  <a:gd name="connsiteX31" fmla="*/ 101288 w 607639"/>
                  <a:gd name="connsiteY31" fmla="*/ 155613 h 606722"/>
                  <a:gd name="connsiteX32" fmla="*/ 97372 w 607639"/>
                  <a:gd name="connsiteY32" fmla="*/ 151703 h 606722"/>
                  <a:gd name="connsiteX33" fmla="*/ 25277 w 607639"/>
                  <a:gd name="connsiteY33" fmla="*/ 0 h 606722"/>
                  <a:gd name="connsiteX34" fmla="*/ 126566 w 607639"/>
                  <a:gd name="connsiteY34" fmla="*/ 0 h 606722"/>
                  <a:gd name="connsiteX35" fmla="*/ 151932 w 607639"/>
                  <a:gd name="connsiteY35" fmla="*/ 25239 h 606722"/>
                  <a:gd name="connsiteX36" fmla="*/ 126566 w 607639"/>
                  <a:gd name="connsiteY36" fmla="*/ 50568 h 606722"/>
                  <a:gd name="connsiteX37" fmla="*/ 101288 w 607639"/>
                  <a:gd name="connsiteY37" fmla="*/ 50568 h 606722"/>
                  <a:gd name="connsiteX38" fmla="*/ 101288 w 607639"/>
                  <a:gd name="connsiteY38" fmla="*/ 101313 h 606722"/>
                  <a:gd name="connsiteX39" fmla="*/ 151932 w 607639"/>
                  <a:gd name="connsiteY39" fmla="*/ 155613 h 606722"/>
                  <a:gd name="connsiteX40" fmla="*/ 151932 w 607639"/>
                  <a:gd name="connsiteY40" fmla="*/ 188673 h 606722"/>
                  <a:gd name="connsiteX41" fmla="*/ 177744 w 607639"/>
                  <a:gd name="connsiteY41" fmla="*/ 205736 h 606722"/>
                  <a:gd name="connsiteX42" fmla="*/ 177744 w 607639"/>
                  <a:gd name="connsiteY42" fmla="*/ 176942 h 606722"/>
                  <a:gd name="connsiteX43" fmla="*/ 203021 w 607639"/>
                  <a:gd name="connsiteY43" fmla="*/ 151703 h 606722"/>
                  <a:gd name="connsiteX44" fmla="*/ 405597 w 607639"/>
                  <a:gd name="connsiteY44" fmla="*/ 151703 h 606722"/>
                  <a:gd name="connsiteX45" fmla="*/ 430875 w 607639"/>
                  <a:gd name="connsiteY45" fmla="*/ 176942 h 606722"/>
                  <a:gd name="connsiteX46" fmla="*/ 430875 w 607639"/>
                  <a:gd name="connsiteY46" fmla="*/ 205381 h 606722"/>
                  <a:gd name="connsiteX47" fmla="*/ 455707 w 607639"/>
                  <a:gd name="connsiteY47" fmla="*/ 188762 h 606722"/>
                  <a:gd name="connsiteX48" fmla="*/ 455707 w 607639"/>
                  <a:gd name="connsiteY48" fmla="*/ 155613 h 606722"/>
                  <a:gd name="connsiteX49" fmla="*/ 506351 w 607639"/>
                  <a:gd name="connsiteY49" fmla="*/ 101313 h 606722"/>
                  <a:gd name="connsiteX50" fmla="*/ 506351 w 607639"/>
                  <a:gd name="connsiteY50" fmla="*/ 50568 h 606722"/>
                  <a:gd name="connsiteX51" fmla="*/ 480984 w 607639"/>
                  <a:gd name="connsiteY51" fmla="*/ 50568 h 606722"/>
                  <a:gd name="connsiteX52" fmla="*/ 455707 w 607639"/>
                  <a:gd name="connsiteY52" fmla="*/ 25239 h 606722"/>
                  <a:gd name="connsiteX53" fmla="*/ 480984 w 607639"/>
                  <a:gd name="connsiteY53" fmla="*/ 0 h 606722"/>
                  <a:gd name="connsiteX54" fmla="*/ 582272 w 607639"/>
                  <a:gd name="connsiteY54" fmla="*/ 0 h 606722"/>
                  <a:gd name="connsiteX55" fmla="*/ 607639 w 607639"/>
                  <a:gd name="connsiteY55" fmla="*/ 25239 h 606722"/>
                  <a:gd name="connsiteX56" fmla="*/ 582272 w 607639"/>
                  <a:gd name="connsiteY56" fmla="*/ 50568 h 606722"/>
                  <a:gd name="connsiteX57" fmla="*/ 556995 w 607639"/>
                  <a:gd name="connsiteY57" fmla="*/ 50568 h 606722"/>
                  <a:gd name="connsiteX58" fmla="*/ 556995 w 607639"/>
                  <a:gd name="connsiteY58" fmla="*/ 101313 h 606722"/>
                  <a:gd name="connsiteX59" fmla="*/ 607639 w 607639"/>
                  <a:gd name="connsiteY59" fmla="*/ 155613 h 606722"/>
                  <a:gd name="connsiteX60" fmla="*/ 607639 w 607639"/>
                  <a:gd name="connsiteY60" fmla="*/ 324734 h 606722"/>
                  <a:gd name="connsiteX61" fmla="*/ 553079 w 607639"/>
                  <a:gd name="connsiteY61" fmla="*/ 379212 h 606722"/>
                  <a:gd name="connsiteX62" fmla="*/ 510267 w 607639"/>
                  <a:gd name="connsiteY62" fmla="*/ 379212 h 606722"/>
                  <a:gd name="connsiteX63" fmla="*/ 455707 w 607639"/>
                  <a:gd name="connsiteY63" fmla="*/ 324734 h 606722"/>
                  <a:gd name="connsiteX64" fmla="*/ 455707 w 607639"/>
                  <a:gd name="connsiteY64" fmla="*/ 249639 h 606722"/>
                  <a:gd name="connsiteX65" fmla="*/ 430875 w 607639"/>
                  <a:gd name="connsiteY65" fmla="*/ 266257 h 606722"/>
                  <a:gd name="connsiteX66" fmla="*/ 430875 w 607639"/>
                  <a:gd name="connsiteY66" fmla="*/ 328645 h 606722"/>
                  <a:gd name="connsiteX67" fmla="*/ 472885 w 607639"/>
                  <a:gd name="connsiteY67" fmla="*/ 397431 h 606722"/>
                  <a:gd name="connsiteX68" fmla="*/ 481697 w 607639"/>
                  <a:gd name="connsiteY68" fmla="*/ 477681 h 606722"/>
                  <a:gd name="connsiteX69" fmla="*/ 481430 w 607639"/>
                  <a:gd name="connsiteY69" fmla="*/ 482569 h 606722"/>
                  <a:gd name="connsiteX70" fmla="*/ 453927 w 607639"/>
                  <a:gd name="connsiteY70" fmla="*/ 505498 h 606722"/>
                  <a:gd name="connsiteX71" fmla="*/ 430964 w 607639"/>
                  <a:gd name="connsiteY71" fmla="*/ 478037 h 606722"/>
                  <a:gd name="connsiteX72" fmla="*/ 431142 w 607639"/>
                  <a:gd name="connsiteY72" fmla="*/ 475193 h 606722"/>
                  <a:gd name="connsiteX73" fmla="*/ 424288 w 607639"/>
                  <a:gd name="connsiteY73" fmla="*/ 411473 h 606722"/>
                  <a:gd name="connsiteX74" fmla="*/ 354953 w 607639"/>
                  <a:gd name="connsiteY74" fmla="*/ 353884 h 606722"/>
                  <a:gd name="connsiteX75" fmla="*/ 329498 w 607639"/>
                  <a:gd name="connsiteY75" fmla="*/ 353884 h 606722"/>
                  <a:gd name="connsiteX76" fmla="*/ 329230 w 607639"/>
                  <a:gd name="connsiteY76" fmla="*/ 404452 h 606722"/>
                  <a:gd name="connsiteX77" fmla="*/ 379786 w 607639"/>
                  <a:gd name="connsiteY77" fmla="*/ 404452 h 606722"/>
                  <a:gd name="connsiteX78" fmla="*/ 405063 w 607639"/>
                  <a:gd name="connsiteY78" fmla="*/ 429780 h 606722"/>
                  <a:gd name="connsiteX79" fmla="*/ 405063 w 607639"/>
                  <a:gd name="connsiteY79" fmla="*/ 581394 h 606722"/>
                  <a:gd name="connsiteX80" fmla="*/ 379786 w 607639"/>
                  <a:gd name="connsiteY80" fmla="*/ 606722 h 606722"/>
                  <a:gd name="connsiteX81" fmla="*/ 227854 w 607639"/>
                  <a:gd name="connsiteY81" fmla="*/ 606722 h 606722"/>
                  <a:gd name="connsiteX82" fmla="*/ 202576 w 607639"/>
                  <a:gd name="connsiteY82" fmla="*/ 581394 h 606722"/>
                  <a:gd name="connsiteX83" fmla="*/ 202576 w 607639"/>
                  <a:gd name="connsiteY83" fmla="*/ 429780 h 606722"/>
                  <a:gd name="connsiteX84" fmla="*/ 227854 w 607639"/>
                  <a:gd name="connsiteY84" fmla="*/ 404452 h 606722"/>
                  <a:gd name="connsiteX85" fmla="*/ 278586 w 607639"/>
                  <a:gd name="connsiteY85" fmla="*/ 404452 h 606722"/>
                  <a:gd name="connsiteX86" fmla="*/ 278854 w 607639"/>
                  <a:gd name="connsiteY86" fmla="*/ 353884 h 606722"/>
                  <a:gd name="connsiteX87" fmla="*/ 253665 w 607639"/>
                  <a:gd name="connsiteY87" fmla="*/ 353884 h 606722"/>
                  <a:gd name="connsiteX88" fmla="*/ 184330 w 607639"/>
                  <a:gd name="connsiteY88" fmla="*/ 411473 h 606722"/>
                  <a:gd name="connsiteX89" fmla="*/ 177388 w 607639"/>
                  <a:gd name="connsiteY89" fmla="*/ 475193 h 606722"/>
                  <a:gd name="connsiteX90" fmla="*/ 177566 w 607639"/>
                  <a:gd name="connsiteY90" fmla="*/ 478037 h 606722"/>
                  <a:gd name="connsiteX91" fmla="*/ 154602 w 607639"/>
                  <a:gd name="connsiteY91" fmla="*/ 505498 h 606722"/>
                  <a:gd name="connsiteX92" fmla="*/ 127189 w 607639"/>
                  <a:gd name="connsiteY92" fmla="*/ 482569 h 606722"/>
                  <a:gd name="connsiteX93" fmla="*/ 126833 w 607639"/>
                  <a:gd name="connsiteY93" fmla="*/ 477681 h 606722"/>
                  <a:gd name="connsiteX94" fmla="*/ 135644 w 607639"/>
                  <a:gd name="connsiteY94" fmla="*/ 397431 h 606722"/>
                  <a:gd name="connsiteX95" fmla="*/ 177744 w 607639"/>
                  <a:gd name="connsiteY95" fmla="*/ 328645 h 606722"/>
                  <a:gd name="connsiteX96" fmla="*/ 177744 w 607639"/>
                  <a:gd name="connsiteY96" fmla="*/ 266346 h 606722"/>
                  <a:gd name="connsiteX97" fmla="*/ 151932 w 607639"/>
                  <a:gd name="connsiteY97" fmla="*/ 249283 h 606722"/>
                  <a:gd name="connsiteX98" fmla="*/ 151932 w 607639"/>
                  <a:gd name="connsiteY98" fmla="*/ 324734 h 606722"/>
                  <a:gd name="connsiteX99" fmla="*/ 97372 w 607639"/>
                  <a:gd name="connsiteY99" fmla="*/ 379212 h 606722"/>
                  <a:gd name="connsiteX100" fmla="*/ 54560 w 607639"/>
                  <a:gd name="connsiteY100" fmla="*/ 379212 h 606722"/>
                  <a:gd name="connsiteX101" fmla="*/ 0 w 607639"/>
                  <a:gd name="connsiteY101" fmla="*/ 324734 h 606722"/>
                  <a:gd name="connsiteX102" fmla="*/ 0 w 607639"/>
                  <a:gd name="connsiteY102" fmla="*/ 155613 h 606722"/>
                  <a:gd name="connsiteX103" fmla="*/ 50644 w 607639"/>
                  <a:gd name="connsiteY103" fmla="*/ 101313 h 606722"/>
                  <a:gd name="connsiteX104" fmla="*/ 50644 w 607639"/>
                  <a:gd name="connsiteY104" fmla="*/ 50568 h 606722"/>
                  <a:gd name="connsiteX105" fmla="*/ 25277 w 607639"/>
                  <a:gd name="connsiteY105" fmla="*/ 50568 h 606722"/>
                  <a:gd name="connsiteX106" fmla="*/ 0 w 607639"/>
                  <a:gd name="connsiteY106" fmla="*/ 25239 h 606722"/>
                  <a:gd name="connsiteX107" fmla="*/ 25277 w 607639"/>
                  <a:gd name="connsiteY10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607639" h="606722">
                    <a:moveTo>
                      <a:pt x="303820" y="480269"/>
                    </a:moveTo>
                    <a:cubicBezTo>
                      <a:pt x="317792" y="480269"/>
                      <a:pt x="329118" y="491595"/>
                      <a:pt x="329118" y="505567"/>
                    </a:cubicBezTo>
                    <a:cubicBezTo>
                      <a:pt x="329118" y="519539"/>
                      <a:pt x="317792" y="530865"/>
                      <a:pt x="303820" y="530865"/>
                    </a:cubicBezTo>
                    <a:cubicBezTo>
                      <a:pt x="289848" y="530865"/>
                      <a:pt x="278522" y="519539"/>
                      <a:pt x="278522" y="505567"/>
                    </a:cubicBezTo>
                    <a:cubicBezTo>
                      <a:pt x="278522" y="491595"/>
                      <a:pt x="289848" y="480269"/>
                      <a:pt x="303820" y="480269"/>
                    </a:cubicBezTo>
                    <a:close/>
                    <a:moveTo>
                      <a:pt x="253131" y="455019"/>
                    </a:moveTo>
                    <a:lnTo>
                      <a:pt x="253131" y="556154"/>
                    </a:lnTo>
                    <a:lnTo>
                      <a:pt x="354419" y="556154"/>
                    </a:lnTo>
                    <a:lnTo>
                      <a:pt x="354419" y="455019"/>
                    </a:lnTo>
                    <a:close/>
                    <a:moveTo>
                      <a:pt x="228299" y="202270"/>
                    </a:moveTo>
                    <a:lnTo>
                      <a:pt x="228299" y="252482"/>
                    </a:lnTo>
                    <a:cubicBezTo>
                      <a:pt x="228299" y="252571"/>
                      <a:pt x="228299" y="252660"/>
                      <a:pt x="228299" y="252749"/>
                    </a:cubicBezTo>
                    <a:lnTo>
                      <a:pt x="228299" y="303317"/>
                    </a:lnTo>
                    <a:lnTo>
                      <a:pt x="380231" y="303317"/>
                    </a:lnTo>
                    <a:lnTo>
                      <a:pt x="380231" y="202270"/>
                    </a:lnTo>
                    <a:close/>
                    <a:moveTo>
                      <a:pt x="510267" y="151703"/>
                    </a:moveTo>
                    <a:cubicBezTo>
                      <a:pt x="508131" y="151703"/>
                      <a:pt x="506351" y="153391"/>
                      <a:pt x="506351" y="155613"/>
                    </a:cubicBezTo>
                    <a:lnTo>
                      <a:pt x="506351" y="324734"/>
                    </a:lnTo>
                    <a:cubicBezTo>
                      <a:pt x="506351" y="326867"/>
                      <a:pt x="508131" y="328645"/>
                      <a:pt x="510267" y="328645"/>
                    </a:cubicBezTo>
                    <a:lnTo>
                      <a:pt x="553079" y="328645"/>
                    </a:lnTo>
                    <a:cubicBezTo>
                      <a:pt x="555215" y="328645"/>
                      <a:pt x="556995" y="326867"/>
                      <a:pt x="556995" y="324734"/>
                    </a:cubicBezTo>
                    <a:lnTo>
                      <a:pt x="556995" y="155613"/>
                    </a:lnTo>
                    <a:cubicBezTo>
                      <a:pt x="556995" y="153391"/>
                      <a:pt x="555215" y="151703"/>
                      <a:pt x="553079" y="151703"/>
                    </a:cubicBezTo>
                    <a:close/>
                    <a:moveTo>
                      <a:pt x="54560" y="151703"/>
                    </a:moveTo>
                    <a:cubicBezTo>
                      <a:pt x="52424" y="151703"/>
                      <a:pt x="50644" y="153391"/>
                      <a:pt x="50644" y="155613"/>
                    </a:cubicBezTo>
                    <a:lnTo>
                      <a:pt x="50644" y="324734"/>
                    </a:lnTo>
                    <a:cubicBezTo>
                      <a:pt x="50644" y="326867"/>
                      <a:pt x="52424" y="328645"/>
                      <a:pt x="54560" y="328645"/>
                    </a:cubicBezTo>
                    <a:lnTo>
                      <a:pt x="97372" y="328645"/>
                    </a:lnTo>
                    <a:cubicBezTo>
                      <a:pt x="99508" y="328645"/>
                      <a:pt x="101288" y="326867"/>
                      <a:pt x="101288" y="324734"/>
                    </a:cubicBezTo>
                    <a:lnTo>
                      <a:pt x="101288" y="202537"/>
                    </a:lnTo>
                    <a:cubicBezTo>
                      <a:pt x="101288" y="202448"/>
                      <a:pt x="101288" y="202359"/>
                      <a:pt x="101288" y="202359"/>
                    </a:cubicBezTo>
                    <a:lnTo>
                      <a:pt x="101288" y="155613"/>
                    </a:lnTo>
                    <a:cubicBezTo>
                      <a:pt x="101288" y="153391"/>
                      <a:pt x="99508" y="151703"/>
                      <a:pt x="97372" y="151703"/>
                    </a:cubicBezTo>
                    <a:close/>
                    <a:moveTo>
                      <a:pt x="25277" y="0"/>
                    </a:moveTo>
                    <a:lnTo>
                      <a:pt x="126566" y="0"/>
                    </a:lnTo>
                    <a:cubicBezTo>
                      <a:pt x="140539" y="0"/>
                      <a:pt x="151932" y="11287"/>
                      <a:pt x="151932" y="25239"/>
                    </a:cubicBezTo>
                    <a:cubicBezTo>
                      <a:pt x="151932" y="39281"/>
                      <a:pt x="140539" y="50568"/>
                      <a:pt x="126566" y="50568"/>
                    </a:cubicBezTo>
                    <a:lnTo>
                      <a:pt x="101288" y="50568"/>
                    </a:lnTo>
                    <a:lnTo>
                      <a:pt x="101288" y="101313"/>
                    </a:lnTo>
                    <a:cubicBezTo>
                      <a:pt x="129592" y="103268"/>
                      <a:pt x="151932" y="126819"/>
                      <a:pt x="151932" y="155613"/>
                    </a:cubicBezTo>
                    <a:lnTo>
                      <a:pt x="151932" y="188673"/>
                    </a:lnTo>
                    <a:lnTo>
                      <a:pt x="177744" y="205736"/>
                    </a:lnTo>
                    <a:lnTo>
                      <a:pt x="177744" y="176942"/>
                    </a:lnTo>
                    <a:cubicBezTo>
                      <a:pt x="177744" y="162989"/>
                      <a:pt x="189047" y="151703"/>
                      <a:pt x="203021" y="151703"/>
                    </a:cubicBezTo>
                    <a:lnTo>
                      <a:pt x="405597" y="151703"/>
                    </a:lnTo>
                    <a:cubicBezTo>
                      <a:pt x="419571" y="151703"/>
                      <a:pt x="430875" y="162989"/>
                      <a:pt x="430875" y="176942"/>
                    </a:cubicBezTo>
                    <a:lnTo>
                      <a:pt x="430875" y="205381"/>
                    </a:lnTo>
                    <a:lnTo>
                      <a:pt x="455707" y="188762"/>
                    </a:lnTo>
                    <a:lnTo>
                      <a:pt x="455707" y="155613"/>
                    </a:lnTo>
                    <a:cubicBezTo>
                      <a:pt x="455707" y="126819"/>
                      <a:pt x="478047" y="103268"/>
                      <a:pt x="506351" y="101313"/>
                    </a:cubicBezTo>
                    <a:lnTo>
                      <a:pt x="506351" y="50568"/>
                    </a:lnTo>
                    <a:lnTo>
                      <a:pt x="480984" y="50568"/>
                    </a:lnTo>
                    <a:cubicBezTo>
                      <a:pt x="467011" y="50568"/>
                      <a:pt x="455707" y="39281"/>
                      <a:pt x="455707" y="25239"/>
                    </a:cubicBezTo>
                    <a:cubicBezTo>
                      <a:pt x="455707" y="11287"/>
                      <a:pt x="467011" y="0"/>
                      <a:pt x="480984" y="0"/>
                    </a:cubicBezTo>
                    <a:lnTo>
                      <a:pt x="582272" y="0"/>
                    </a:lnTo>
                    <a:cubicBezTo>
                      <a:pt x="596246" y="0"/>
                      <a:pt x="607639" y="11287"/>
                      <a:pt x="607639" y="25239"/>
                    </a:cubicBezTo>
                    <a:cubicBezTo>
                      <a:pt x="607639" y="39281"/>
                      <a:pt x="596246" y="50568"/>
                      <a:pt x="582272" y="50568"/>
                    </a:cubicBezTo>
                    <a:lnTo>
                      <a:pt x="556995" y="50568"/>
                    </a:lnTo>
                    <a:lnTo>
                      <a:pt x="556995" y="101313"/>
                    </a:lnTo>
                    <a:cubicBezTo>
                      <a:pt x="585299" y="103268"/>
                      <a:pt x="607639" y="126819"/>
                      <a:pt x="607639" y="155613"/>
                    </a:cubicBezTo>
                    <a:lnTo>
                      <a:pt x="607639" y="324734"/>
                    </a:lnTo>
                    <a:cubicBezTo>
                      <a:pt x="607639" y="354773"/>
                      <a:pt x="583163" y="379212"/>
                      <a:pt x="553079" y="379212"/>
                    </a:cubicBezTo>
                    <a:lnTo>
                      <a:pt x="510267" y="379212"/>
                    </a:lnTo>
                    <a:cubicBezTo>
                      <a:pt x="480094" y="379212"/>
                      <a:pt x="455707" y="354773"/>
                      <a:pt x="455707" y="324734"/>
                    </a:cubicBezTo>
                    <a:lnTo>
                      <a:pt x="455707" y="249639"/>
                    </a:lnTo>
                    <a:lnTo>
                      <a:pt x="430875" y="266257"/>
                    </a:lnTo>
                    <a:lnTo>
                      <a:pt x="430875" y="328645"/>
                    </a:lnTo>
                    <a:cubicBezTo>
                      <a:pt x="450634" y="344997"/>
                      <a:pt x="464519" y="368637"/>
                      <a:pt x="472885" y="397431"/>
                    </a:cubicBezTo>
                    <a:cubicBezTo>
                      <a:pt x="480896" y="425070"/>
                      <a:pt x="482943" y="453331"/>
                      <a:pt x="481697" y="477681"/>
                    </a:cubicBezTo>
                    <a:cubicBezTo>
                      <a:pt x="481608" y="479903"/>
                      <a:pt x="481519" y="481503"/>
                      <a:pt x="481430" y="482569"/>
                    </a:cubicBezTo>
                    <a:cubicBezTo>
                      <a:pt x="480183" y="496433"/>
                      <a:pt x="467901" y="506742"/>
                      <a:pt x="453927" y="505498"/>
                    </a:cubicBezTo>
                    <a:cubicBezTo>
                      <a:pt x="440042" y="504254"/>
                      <a:pt x="429717" y="491990"/>
                      <a:pt x="430964" y="478037"/>
                    </a:cubicBezTo>
                    <a:cubicBezTo>
                      <a:pt x="430964" y="477681"/>
                      <a:pt x="431053" y="476704"/>
                      <a:pt x="431142" y="475193"/>
                    </a:cubicBezTo>
                    <a:cubicBezTo>
                      <a:pt x="432121" y="455908"/>
                      <a:pt x="430430" y="432890"/>
                      <a:pt x="424288" y="411473"/>
                    </a:cubicBezTo>
                    <a:cubicBezTo>
                      <a:pt x="413430" y="373969"/>
                      <a:pt x="392424" y="353884"/>
                      <a:pt x="354953" y="353884"/>
                    </a:cubicBezTo>
                    <a:lnTo>
                      <a:pt x="329498" y="353884"/>
                    </a:lnTo>
                    <a:lnTo>
                      <a:pt x="329230" y="404452"/>
                    </a:lnTo>
                    <a:lnTo>
                      <a:pt x="379786" y="404452"/>
                    </a:lnTo>
                    <a:cubicBezTo>
                      <a:pt x="393759" y="404452"/>
                      <a:pt x="405063" y="415827"/>
                      <a:pt x="405063" y="429780"/>
                    </a:cubicBezTo>
                    <a:lnTo>
                      <a:pt x="405063" y="581394"/>
                    </a:lnTo>
                    <a:cubicBezTo>
                      <a:pt x="405063" y="595347"/>
                      <a:pt x="393759" y="606722"/>
                      <a:pt x="379786" y="606722"/>
                    </a:cubicBezTo>
                    <a:lnTo>
                      <a:pt x="227854" y="606722"/>
                    </a:lnTo>
                    <a:cubicBezTo>
                      <a:pt x="213880" y="606722"/>
                      <a:pt x="202576" y="595347"/>
                      <a:pt x="202576" y="581394"/>
                    </a:cubicBezTo>
                    <a:lnTo>
                      <a:pt x="202576" y="429780"/>
                    </a:lnTo>
                    <a:cubicBezTo>
                      <a:pt x="202576" y="415827"/>
                      <a:pt x="213880" y="404452"/>
                      <a:pt x="227854" y="404452"/>
                    </a:cubicBezTo>
                    <a:lnTo>
                      <a:pt x="278586" y="404452"/>
                    </a:lnTo>
                    <a:lnTo>
                      <a:pt x="278854" y="353884"/>
                    </a:lnTo>
                    <a:lnTo>
                      <a:pt x="253665" y="353884"/>
                    </a:lnTo>
                    <a:cubicBezTo>
                      <a:pt x="216194" y="353884"/>
                      <a:pt x="195189" y="373969"/>
                      <a:pt x="184330" y="411473"/>
                    </a:cubicBezTo>
                    <a:cubicBezTo>
                      <a:pt x="178100" y="432890"/>
                      <a:pt x="176497" y="455908"/>
                      <a:pt x="177388" y="475193"/>
                    </a:cubicBezTo>
                    <a:cubicBezTo>
                      <a:pt x="177477" y="476704"/>
                      <a:pt x="177566" y="477681"/>
                      <a:pt x="177566" y="478037"/>
                    </a:cubicBezTo>
                    <a:cubicBezTo>
                      <a:pt x="178812" y="491990"/>
                      <a:pt x="168576" y="504254"/>
                      <a:pt x="154602" y="505498"/>
                    </a:cubicBezTo>
                    <a:cubicBezTo>
                      <a:pt x="140717" y="506742"/>
                      <a:pt x="128435" y="496433"/>
                      <a:pt x="127189" y="482569"/>
                    </a:cubicBezTo>
                    <a:cubicBezTo>
                      <a:pt x="127100" y="481503"/>
                      <a:pt x="126922" y="479903"/>
                      <a:pt x="126833" y="477681"/>
                    </a:cubicBezTo>
                    <a:cubicBezTo>
                      <a:pt x="125675" y="453331"/>
                      <a:pt x="127723" y="425070"/>
                      <a:pt x="135644" y="397431"/>
                    </a:cubicBezTo>
                    <a:cubicBezTo>
                      <a:pt x="144011" y="368637"/>
                      <a:pt x="157895" y="344997"/>
                      <a:pt x="177744" y="328645"/>
                    </a:cubicBezTo>
                    <a:lnTo>
                      <a:pt x="177744" y="266346"/>
                    </a:lnTo>
                    <a:lnTo>
                      <a:pt x="151932" y="249283"/>
                    </a:lnTo>
                    <a:lnTo>
                      <a:pt x="151932" y="324734"/>
                    </a:lnTo>
                    <a:cubicBezTo>
                      <a:pt x="151932" y="354773"/>
                      <a:pt x="127456" y="379212"/>
                      <a:pt x="97372" y="379212"/>
                    </a:cubicBezTo>
                    <a:lnTo>
                      <a:pt x="54560" y="379212"/>
                    </a:lnTo>
                    <a:cubicBezTo>
                      <a:pt x="24387" y="379212"/>
                      <a:pt x="0" y="354773"/>
                      <a:pt x="0" y="324734"/>
                    </a:cubicBezTo>
                    <a:lnTo>
                      <a:pt x="0" y="155613"/>
                    </a:lnTo>
                    <a:cubicBezTo>
                      <a:pt x="0" y="126819"/>
                      <a:pt x="22340" y="103268"/>
                      <a:pt x="50644" y="101313"/>
                    </a:cubicBezTo>
                    <a:lnTo>
                      <a:pt x="50644" y="50568"/>
                    </a:lnTo>
                    <a:lnTo>
                      <a:pt x="25277" y="50568"/>
                    </a:lnTo>
                    <a:cubicBezTo>
                      <a:pt x="11304" y="50568"/>
                      <a:pt x="0" y="39281"/>
                      <a:pt x="0" y="25239"/>
                    </a:cubicBezTo>
                    <a:cubicBezTo>
                      <a:pt x="0" y="11287"/>
                      <a:pt x="11304" y="0"/>
                      <a:pt x="252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7" name="组合 76">
              <a:extLst>
                <a:ext uri="{FF2B5EF4-FFF2-40B4-BE49-F238E27FC236}">
                  <a16:creationId xmlns:a16="http://schemas.microsoft.com/office/drawing/2014/main" id="{9FBF067A-FA69-41E7-B450-3B67E89E42D3}"/>
                </a:ext>
              </a:extLst>
            </p:cNvPr>
            <p:cNvGrpSpPr/>
            <p:nvPr/>
          </p:nvGrpSpPr>
          <p:grpSpPr>
            <a:xfrm>
              <a:off x="8358664" y="3722397"/>
              <a:ext cx="437715" cy="437715"/>
              <a:chOff x="8358664" y="3722397"/>
              <a:chExt cx="437715" cy="437715"/>
            </a:xfrm>
          </p:grpSpPr>
          <p:sp>
            <p:nvSpPr>
              <p:cNvPr id="30" name="形状">
                <a:extLst>
                  <a:ext uri="{FF2B5EF4-FFF2-40B4-BE49-F238E27FC236}">
                    <a16:creationId xmlns:a16="http://schemas.microsoft.com/office/drawing/2014/main" id="{02FD18DB-6126-4219-BE85-462F2F2E35E2}"/>
                  </a:ext>
                </a:extLst>
              </p:cNvPr>
              <p:cNvSpPr/>
              <p:nvPr/>
            </p:nvSpPr>
            <p:spPr>
              <a:xfrm>
                <a:off x="8358664" y="3722397"/>
                <a:ext cx="437715" cy="437715"/>
              </a:xfrm>
              <a:prstGeom prst="ellipse">
                <a:avLst/>
              </a:prstGeom>
              <a:solidFill>
                <a:srgbClr val="229AB4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图片">
                <a:extLst>
                  <a:ext uri="{FF2B5EF4-FFF2-40B4-BE49-F238E27FC236}">
                    <a16:creationId xmlns:a16="http://schemas.microsoft.com/office/drawing/2014/main" id="{4172F745-F9E3-4EC0-B1F2-EC282B9E37E9}"/>
                  </a:ext>
                </a:extLst>
              </p:cNvPr>
              <p:cNvSpPr/>
              <p:nvPr/>
            </p:nvSpPr>
            <p:spPr>
              <a:xfrm>
                <a:off x="8446244" y="3810176"/>
                <a:ext cx="262554" cy="262157"/>
              </a:xfrm>
              <a:custGeom>
                <a:avLst/>
                <a:gdLst>
                  <a:gd name="connsiteX0" fmla="*/ 303820 w 607639"/>
                  <a:gd name="connsiteY0" fmla="*/ 480269 h 606722"/>
                  <a:gd name="connsiteX1" fmla="*/ 329118 w 607639"/>
                  <a:gd name="connsiteY1" fmla="*/ 505567 h 606722"/>
                  <a:gd name="connsiteX2" fmla="*/ 303820 w 607639"/>
                  <a:gd name="connsiteY2" fmla="*/ 530865 h 606722"/>
                  <a:gd name="connsiteX3" fmla="*/ 278522 w 607639"/>
                  <a:gd name="connsiteY3" fmla="*/ 505567 h 606722"/>
                  <a:gd name="connsiteX4" fmla="*/ 303820 w 607639"/>
                  <a:gd name="connsiteY4" fmla="*/ 480269 h 606722"/>
                  <a:gd name="connsiteX5" fmla="*/ 253131 w 607639"/>
                  <a:gd name="connsiteY5" fmla="*/ 455019 h 606722"/>
                  <a:gd name="connsiteX6" fmla="*/ 253131 w 607639"/>
                  <a:gd name="connsiteY6" fmla="*/ 556154 h 606722"/>
                  <a:gd name="connsiteX7" fmla="*/ 354419 w 607639"/>
                  <a:gd name="connsiteY7" fmla="*/ 556154 h 606722"/>
                  <a:gd name="connsiteX8" fmla="*/ 354419 w 607639"/>
                  <a:gd name="connsiteY8" fmla="*/ 455019 h 606722"/>
                  <a:gd name="connsiteX9" fmla="*/ 228299 w 607639"/>
                  <a:gd name="connsiteY9" fmla="*/ 202270 h 606722"/>
                  <a:gd name="connsiteX10" fmla="*/ 228299 w 607639"/>
                  <a:gd name="connsiteY10" fmla="*/ 252482 h 606722"/>
                  <a:gd name="connsiteX11" fmla="*/ 228299 w 607639"/>
                  <a:gd name="connsiteY11" fmla="*/ 252749 h 606722"/>
                  <a:gd name="connsiteX12" fmla="*/ 228299 w 607639"/>
                  <a:gd name="connsiteY12" fmla="*/ 303317 h 606722"/>
                  <a:gd name="connsiteX13" fmla="*/ 380231 w 607639"/>
                  <a:gd name="connsiteY13" fmla="*/ 303317 h 606722"/>
                  <a:gd name="connsiteX14" fmla="*/ 380231 w 607639"/>
                  <a:gd name="connsiteY14" fmla="*/ 202270 h 606722"/>
                  <a:gd name="connsiteX15" fmla="*/ 510267 w 607639"/>
                  <a:gd name="connsiteY15" fmla="*/ 151703 h 606722"/>
                  <a:gd name="connsiteX16" fmla="*/ 506351 w 607639"/>
                  <a:gd name="connsiteY16" fmla="*/ 155613 h 606722"/>
                  <a:gd name="connsiteX17" fmla="*/ 506351 w 607639"/>
                  <a:gd name="connsiteY17" fmla="*/ 324734 h 606722"/>
                  <a:gd name="connsiteX18" fmla="*/ 510267 w 607639"/>
                  <a:gd name="connsiteY18" fmla="*/ 328645 h 606722"/>
                  <a:gd name="connsiteX19" fmla="*/ 553079 w 607639"/>
                  <a:gd name="connsiteY19" fmla="*/ 328645 h 606722"/>
                  <a:gd name="connsiteX20" fmla="*/ 556995 w 607639"/>
                  <a:gd name="connsiteY20" fmla="*/ 324734 h 606722"/>
                  <a:gd name="connsiteX21" fmla="*/ 556995 w 607639"/>
                  <a:gd name="connsiteY21" fmla="*/ 155613 h 606722"/>
                  <a:gd name="connsiteX22" fmla="*/ 553079 w 607639"/>
                  <a:gd name="connsiteY22" fmla="*/ 151703 h 606722"/>
                  <a:gd name="connsiteX23" fmla="*/ 54560 w 607639"/>
                  <a:gd name="connsiteY23" fmla="*/ 151703 h 606722"/>
                  <a:gd name="connsiteX24" fmla="*/ 50644 w 607639"/>
                  <a:gd name="connsiteY24" fmla="*/ 155613 h 606722"/>
                  <a:gd name="connsiteX25" fmla="*/ 50644 w 607639"/>
                  <a:gd name="connsiteY25" fmla="*/ 324734 h 606722"/>
                  <a:gd name="connsiteX26" fmla="*/ 54560 w 607639"/>
                  <a:gd name="connsiteY26" fmla="*/ 328645 h 606722"/>
                  <a:gd name="connsiteX27" fmla="*/ 97372 w 607639"/>
                  <a:gd name="connsiteY27" fmla="*/ 328645 h 606722"/>
                  <a:gd name="connsiteX28" fmla="*/ 101288 w 607639"/>
                  <a:gd name="connsiteY28" fmla="*/ 324734 h 606722"/>
                  <a:gd name="connsiteX29" fmla="*/ 101288 w 607639"/>
                  <a:gd name="connsiteY29" fmla="*/ 202537 h 606722"/>
                  <a:gd name="connsiteX30" fmla="*/ 101288 w 607639"/>
                  <a:gd name="connsiteY30" fmla="*/ 202359 h 606722"/>
                  <a:gd name="connsiteX31" fmla="*/ 101288 w 607639"/>
                  <a:gd name="connsiteY31" fmla="*/ 155613 h 606722"/>
                  <a:gd name="connsiteX32" fmla="*/ 97372 w 607639"/>
                  <a:gd name="connsiteY32" fmla="*/ 151703 h 606722"/>
                  <a:gd name="connsiteX33" fmla="*/ 25277 w 607639"/>
                  <a:gd name="connsiteY33" fmla="*/ 0 h 606722"/>
                  <a:gd name="connsiteX34" fmla="*/ 126566 w 607639"/>
                  <a:gd name="connsiteY34" fmla="*/ 0 h 606722"/>
                  <a:gd name="connsiteX35" fmla="*/ 151932 w 607639"/>
                  <a:gd name="connsiteY35" fmla="*/ 25239 h 606722"/>
                  <a:gd name="connsiteX36" fmla="*/ 126566 w 607639"/>
                  <a:gd name="connsiteY36" fmla="*/ 50568 h 606722"/>
                  <a:gd name="connsiteX37" fmla="*/ 101288 w 607639"/>
                  <a:gd name="connsiteY37" fmla="*/ 50568 h 606722"/>
                  <a:gd name="connsiteX38" fmla="*/ 101288 w 607639"/>
                  <a:gd name="connsiteY38" fmla="*/ 101313 h 606722"/>
                  <a:gd name="connsiteX39" fmla="*/ 151932 w 607639"/>
                  <a:gd name="connsiteY39" fmla="*/ 155613 h 606722"/>
                  <a:gd name="connsiteX40" fmla="*/ 151932 w 607639"/>
                  <a:gd name="connsiteY40" fmla="*/ 188673 h 606722"/>
                  <a:gd name="connsiteX41" fmla="*/ 177744 w 607639"/>
                  <a:gd name="connsiteY41" fmla="*/ 205736 h 606722"/>
                  <a:gd name="connsiteX42" fmla="*/ 177744 w 607639"/>
                  <a:gd name="connsiteY42" fmla="*/ 176942 h 606722"/>
                  <a:gd name="connsiteX43" fmla="*/ 203021 w 607639"/>
                  <a:gd name="connsiteY43" fmla="*/ 151703 h 606722"/>
                  <a:gd name="connsiteX44" fmla="*/ 405597 w 607639"/>
                  <a:gd name="connsiteY44" fmla="*/ 151703 h 606722"/>
                  <a:gd name="connsiteX45" fmla="*/ 430875 w 607639"/>
                  <a:gd name="connsiteY45" fmla="*/ 176942 h 606722"/>
                  <a:gd name="connsiteX46" fmla="*/ 430875 w 607639"/>
                  <a:gd name="connsiteY46" fmla="*/ 205381 h 606722"/>
                  <a:gd name="connsiteX47" fmla="*/ 455707 w 607639"/>
                  <a:gd name="connsiteY47" fmla="*/ 188762 h 606722"/>
                  <a:gd name="connsiteX48" fmla="*/ 455707 w 607639"/>
                  <a:gd name="connsiteY48" fmla="*/ 155613 h 606722"/>
                  <a:gd name="connsiteX49" fmla="*/ 506351 w 607639"/>
                  <a:gd name="connsiteY49" fmla="*/ 101313 h 606722"/>
                  <a:gd name="connsiteX50" fmla="*/ 506351 w 607639"/>
                  <a:gd name="connsiteY50" fmla="*/ 50568 h 606722"/>
                  <a:gd name="connsiteX51" fmla="*/ 480984 w 607639"/>
                  <a:gd name="connsiteY51" fmla="*/ 50568 h 606722"/>
                  <a:gd name="connsiteX52" fmla="*/ 455707 w 607639"/>
                  <a:gd name="connsiteY52" fmla="*/ 25239 h 606722"/>
                  <a:gd name="connsiteX53" fmla="*/ 480984 w 607639"/>
                  <a:gd name="connsiteY53" fmla="*/ 0 h 606722"/>
                  <a:gd name="connsiteX54" fmla="*/ 582272 w 607639"/>
                  <a:gd name="connsiteY54" fmla="*/ 0 h 606722"/>
                  <a:gd name="connsiteX55" fmla="*/ 607639 w 607639"/>
                  <a:gd name="connsiteY55" fmla="*/ 25239 h 606722"/>
                  <a:gd name="connsiteX56" fmla="*/ 582272 w 607639"/>
                  <a:gd name="connsiteY56" fmla="*/ 50568 h 606722"/>
                  <a:gd name="connsiteX57" fmla="*/ 556995 w 607639"/>
                  <a:gd name="connsiteY57" fmla="*/ 50568 h 606722"/>
                  <a:gd name="connsiteX58" fmla="*/ 556995 w 607639"/>
                  <a:gd name="connsiteY58" fmla="*/ 101313 h 606722"/>
                  <a:gd name="connsiteX59" fmla="*/ 607639 w 607639"/>
                  <a:gd name="connsiteY59" fmla="*/ 155613 h 606722"/>
                  <a:gd name="connsiteX60" fmla="*/ 607639 w 607639"/>
                  <a:gd name="connsiteY60" fmla="*/ 324734 h 606722"/>
                  <a:gd name="connsiteX61" fmla="*/ 553079 w 607639"/>
                  <a:gd name="connsiteY61" fmla="*/ 379212 h 606722"/>
                  <a:gd name="connsiteX62" fmla="*/ 510267 w 607639"/>
                  <a:gd name="connsiteY62" fmla="*/ 379212 h 606722"/>
                  <a:gd name="connsiteX63" fmla="*/ 455707 w 607639"/>
                  <a:gd name="connsiteY63" fmla="*/ 324734 h 606722"/>
                  <a:gd name="connsiteX64" fmla="*/ 455707 w 607639"/>
                  <a:gd name="connsiteY64" fmla="*/ 249639 h 606722"/>
                  <a:gd name="connsiteX65" fmla="*/ 430875 w 607639"/>
                  <a:gd name="connsiteY65" fmla="*/ 266257 h 606722"/>
                  <a:gd name="connsiteX66" fmla="*/ 430875 w 607639"/>
                  <a:gd name="connsiteY66" fmla="*/ 328645 h 606722"/>
                  <a:gd name="connsiteX67" fmla="*/ 472885 w 607639"/>
                  <a:gd name="connsiteY67" fmla="*/ 397431 h 606722"/>
                  <a:gd name="connsiteX68" fmla="*/ 481697 w 607639"/>
                  <a:gd name="connsiteY68" fmla="*/ 477681 h 606722"/>
                  <a:gd name="connsiteX69" fmla="*/ 481430 w 607639"/>
                  <a:gd name="connsiteY69" fmla="*/ 482569 h 606722"/>
                  <a:gd name="connsiteX70" fmla="*/ 453927 w 607639"/>
                  <a:gd name="connsiteY70" fmla="*/ 505498 h 606722"/>
                  <a:gd name="connsiteX71" fmla="*/ 430964 w 607639"/>
                  <a:gd name="connsiteY71" fmla="*/ 478037 h 606722"/>
                  <a:gd name="connsiteX72" fmla="*/ 431142 w 607639"/>
                  <a:gd name="connsiteY72" fmla="*/ 475193 h 606722"/>
                  <a:gd name="connsiteX73" fmla="*/ 424288 w 607639"/>
                  <a:gd name="connsiteY73" fmla="*/ 411473 h 606722"/>
                  <a:gd name="connsiteX74" fmla="*/ 354953 w 607639"/>
                  <a:gd name="connsiteY74" fmla="*/ 353884 h 606722"/>
                  <a:gd name="connsiteX75" fmla="*/ 329498 w 607639"/>
                  <a:gd name="connsiteY75" fmla="*/ 353884 h 606722"/>
                  <a:gd name="connsiteX76" fmla="*/ 329230 w 607639"/>
                  <a:gd name="connsiteY76" fmla="*/ 404452 h 606722"/>
                  <a:gd name="connsiteX77" fmla="*/ 379786 w 607639"/>
                  <a:gd name="connsiteY77" fmla="*/ 404452 h 606722"/>
                  <a:gd name="connsiteX78" fmla="*/ 405063 w 607639"/>
                  <a:gd name="connsiteY78" fmla="*/ 429780 h 606722"/>
                  <a:gd name="connsiteX79" fmla="*/ 405063 w 607639"/>
                  <a:gd name="connsiteY79" fmla="*/ 581394 h 606722"/>
                  <a:gd name="connsiteX80" fmla="*/ 379786 w 607639"/>
                  <a:gd name="connsiteY80" fmla="*/ 606722 h 606722"/>
                  <a:gd name="connsiteX81" fmla="*/ 227854 w 607639"/>
                  <a:gd name="connsiteY81" fmla="*/ 606722 h 606722"/>
                  <a:gd name="connsiteX82" fmla="*/ 202576 w 607639"/>
                  <a:gd name="connsiteY82" fmla="*/ 581394 h 606722"/>
                  <a:gd name="connsiteX83" fmla="*/ 202576 w 607639"/>
                  <a:gd name="connsiteY83" fmla="*/ 429780 h 606722"/>
                  <a:gd name="connsiteX84" fmla="*/ 227854 w 607639"/>
                  <a:gd name="connsiteY84" fmla="*/ 404452 h 606722"/>
                  <a:gd name="connsiteX85" fmla="*/ 278586 w 607639"/>
                  <a:gd name="connsiteY85" fmla="*/ 404452 h 606722"/>
                  <a:gd name="connsiteX86" fmla="*/ 278854 w 607639"/>
                  <a:gd name="connsiteY86" fmla="*/ 353884 h 606722"/>
                  <a:gd name="connsiteX87" fmla="*/ 253665 w 607639"/>
                  <a:gd name="connsiteY87" fmla="*/ 353884 h 606722"/>
                  <a:gd name="connsiteX88" fmla="*/ 184330 w 607639"/>
                  <a:gd name="connsiteY88" fmla="*/ 411473 h 606722"/>
                  <a:gd name="connsiteX89" fmla="*/ 177388 w 607639"/>
                  <a:gd name="connsiteY89" fmla="*/ 475193 h 606722"/>
                  <a:gd name="connsiteX90" fmla="*/ 177566 w 607639"/>
                  <a:gd name="connsiteY90" fmla="*/ 478037 h 606722"/>
                  <a:gd name="connsiteX91" fmla="*/ 154602 w 607639"/>
                  <a:gd name="connsiteY91" fmla="*/ 505498 h 606722"/>
                  <a:gd name="connsiteX92" fmla="*/ 127189 w 607639"/>
                  <a:gd name="connsiteY92" fmla="*/ 482569 h 606722"/>
                  <a:gd name="connsiteX93" fmla="*/ 126833 w 607639"/>
                  <a:gd name="connsiteY93" fmla="*/ 477681 h 606722"/>
                  <a:gd name="connsiteX94" fmla="*/ 135644 w 607639"/>
                  <a:gd name="connsiteY94" fmla="*/ 397431 h 606722"/>
                  <a:gd name="connsiteX95" fmla="*/ 177744 w 607639"/>
                  <a:gd name="connsiteY95" fmla="*/ 328645 h 606722"/>
                  <a:gd name="connsiteX96" fmla="*/ 177744 w 607639"/>
                  <a:gd name="connsiteY96" fmla="*/ 266346 h 606722"/>
                  <a:gd name="connsiteX97" fmla="*/ 151932 w 607639"/>
                  <a:gd name="connsiteY97" fmla="*/ 249283 h 606722"/>
                  <a:gd name="connsiteX98" fmla="*/ 151932 w 607639"/>
                  <a:gd name="connsiteY98" fmla="*/ 324734 h 606722"/>
                  <a:gd name="connsiteX99" fmla="*/ 97372 w 607639"/>
                  <a:gd name="connsiteY99" fmla="*/ 379212 h 606722"/>
                  <a:gd name="connsiteX100" fmla="*/ 54560 w 607639"/>
                  <a:gd name="connsiteY100" fmla="*/ 379212 h 606722"/>
                  <a:gd name="connsiteX101" fmla="*/ 0 w 607639"/>
                  <a:gd name="connsiteY101" fmla="*/ 324734 h 606722"/>
                  <a:gd name="connsiteX102" fmla="*/ 0 w 607639"/>
                  <a:gd name="connsiteY102" fmla="*/ 155613 h 606722"/>
                  <a:gd name="connsiteX103" fmla="*/ 50644 w 607639"/>
                  <a:gd name="connsiteY103" fmla="*/ 101313 h 606722"/>
                  <a:gd name="connsiteX104" fmla="*/ 50644 w 607639"/>
                  <a:gd name="connsiteY104" fmla="*/ 50568 h 606722"/>
                  <a:gd name="connsiteX105" fmla="*/ 25277 w 607639"/>
                  <a:gd name="connsiteY105" fmla="*/ 50568 h 606722"/>
                  <a:gd name="connsiteX106" fmla="*/ 0 w 607639"/>
                  <a:gd name="connsiteY106" fmla="*/ 25239 h 606722"/>
                  <a:gd name="connsiteX107" fmla="*/ 25277 w 607639"/>
                  <a:gd name="connsiteY107" fmla="*/ 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607639" h="606722">
                    <a:moveTo>
                      <a:pt x="303820" y="480269"/>
                    </a:moveTo>
                    <a:cubicBezTo>
                      <a:pt x="317792" y="480269"/>
                      <a:pt x="329118" y="491595"/>
                      <a:pt x="329118" y="505567"/>
                    </a:cubicBezTo>
                    <a:cubicBezTo>
                      <a:pt x="329118" y="519539"/>
                      <a:pt x="317792" y="530865"/>
                      <a:pt x="303820" y="530865"/>
                    </a:cubicBezTo>
                    <a:cubicBezTo>
                      <a:pt x="289848" y="530865"/>
                      <a:pt x="278522" y="519539"/>
                      <a:pt x="278522" y="505567"/>
                    </a:cubicBezTo>
                    <a:cubicBezTo>
                      <a:pt x="278522" y="491595"/>
                      <a:pt x="289848" y="480269"/>
                      <a:pt x="303820" y="480269"/>
                    </a:cubicBezTo>
                    <a:close/>
                    <a:moveTo>
                      <a:pt x="253131" y="455019"/>
                    </a:moveTo>
                    <a:lnTo>
                      <a:pt x="253131" y="556154"/>
                    </a:lnTo>
                    <a:lnTo>
                      <a:pt x="354419" y="556154"/>
                    </a:lnTo>
                    <a:lnTo>
                      <a:pt x="354419" y="455019"/>
                    </a:lnTo>
                    <a:close/>
                    <a:moveTo>
                      <a:pt x="228299" y="202270"/>
                    </a:moveTo>
                    <a:lnTo>
                      <a:pt x="228299" y="252482"/>
                    </a:lnTo>
                    <a:cubicBezTo>
                      <a:pt x="228299" y="252571"/>
                      <a:pt x="228299" y="252660"/>
                      <a:pt x="228299" y="252749"/>
                    </a:cubicBezTo>
                    <a:lnTo>
                      <a:pt x="228299" y="303317"/>
                    </a:lnTo>
                    <a:lnTo>
                      <a:pt x="380231" y="303317"/>
                    </a:lnTo>
                    <a:lnTo>
                      <a:pt x="380231" y="202270"/>
                    </a:lnTo>
                    <a:close/>
                    <a:moveTo>
                      <a:pt x="510267" y="151703"/>
                    </a:moveTo>
                    <a:cubicBezTo>
                      <a:pt x="508131" y="151703"/>
                      <a:pt x="506351" y="153391"/>
                      <a:pt x="506351" y="155613"/>
                    </a:cubicBezTo>
                    <a:lnTo>
                      <a:pt x="506351" y="324734"/>
                    </a:lnTo>
                    <a:cubicBezTo>
                      <a:pt x="506351" y="326867"/>
                      <a:pt x="508131" y="328645"/>
                      <a:pt x="510267" y="328645"/>
                    </a:cubicBezTo>
                    <a:lnTo>
                      <a:pt x="553079" y="328645"/>
                    </a:lnTo>
                    <a:cubicBezTo>
                      <a:pt x="555215" y="328645"/>
                      <a:pt x="556995" y="326867"/>
                      <a:pt x="556995" y="324734"/>
                    </a:cubicBezTo>
                    <a:lnTo>
                      <a:pt x="556995" y="155613"/>
                    </a:lnTo>
                    <a:cubicBezTo>
                      <a:pt x="556995" y="153391"/>
                      <a:pt x="555215" y="151703"/>
                      <a:pt x="553079" y="151703"/>
                    </a:cubicBezTo>
                    <a:close/>
                    <a:moveTo>
                      <a:pt x="54560" y="151703"/>
                    </a:moveTo>
                    <a:cubicBezTo>
                      <a:pt x="52424" y="151703"/>
                      <a:pt x="50644" y="153391"/>
                      <a:pt x="50644" y="155613"/>
                    </a:cubicBezTo>
                    <a:lnTo>
                      <a:pt x="50644" y="324734"/>
                    </a:lnTo>
                    <a:cubicBezTo>
                      <a:pt x="50644" y="326867"/>
                      <a:pt x="52424" y="328645"/>
                      <a:pt x="54560" y="328645"/>
                    </a:cubicBezTo>
                    <a:lnTo>
                      <a:pt x="97372" y="328645"/>
                    </a:lnTo>
                    <a:cubicBezTo>
                      <a:pt x="99508" y="328645"/>
                      <a:pt x="101288" y="326867"/>
                      <a:pt x="101288" y="324734"/>
                    </a:cubicBezTo>
                    <a:lnTo>
                      <a:pt x="101288" y="202537"/>
                    </a:lnTo>
                    <a:cubicBezTo>
                      <a:pt x="101288" y="202448"/>
                      <a:pt x="101288" y="202359"/>
                      <a:pt x="101288" y="202359"/>
                    </a:cubicBezTo>
                    <a:lnTo>
                      <a:pt x="101288" y="155613"/>
                    </a:lnTo>
                    <a:cubicBezTo>
                      <a:pt x="101288" y="153391"/>
                      <a:pt x="99508" y="151703"/>
                      <a:pt x="97372" y="151703"/>
                    </a:cubicBezTo>
                    <a:close/>
                    <a:moveTo>
                      <a:pt x="25277" y="0"/>
                    </a:moveTo>
                    <a:lnTo>
                      <a:pt x="126566" y="0"/>
                    </a:lnTo>
                    <a:cubicBezTo>
                      <a:pt x="140539" y="0"/>
                      <a:pt x="151932" y="11287"/>
                      <a:pt x="151932" y="25239"/>
                    </a:cubicBezTo>
                    <a:cubicBezTo>
                      <a:pt x="151932" y="39281"/>
                      <a:pt x="140539" y="50568"/>
                      <a:pt x="126566" y="50568"/>
                    </a:cubicBezTo>
                    <a:lnTo>
                      <a:pt x="101288" y="50568"/>
                    </a:lnTo>
                    <a:lnTo>
                      <a:pt x="101288" y="101313"/>
                    </a:lnTo>
                    <a:cubicBezTo>
                      <a:pt x="129592" y="103268"/>
                      <a:pt x="151932" y="126819"/>
                      <a:pt x="151932" y="155613"/>
                    </a:cubicBezTo>
                    <a:lnTo>
                      <a:pt x="151932" y="188673"/>
                    </a:lnTo>
                    <a:lnTo>
                      <a:pt x="177744" y="205736"/>
                    </a:lnTo>
                    <a:lnTo>
                      <a:pt x="177744" y="176942"/>
                    </a:lnTo>
                    <a:cubicBezTo>
                      <a:pt x="177744" y="162989"/>
                      <a:pt x="189047" y="151703"/>
                      <a:pt x="203021" y="151703"/>
                    </a:cubicBezTo>
                    <a:lnTo>
                      <a:pt x="405597" y="151703"/>
                    </a:lnTo>
                    <a:cubicBezTo>
                      <a:pt x="419571" y="151703"/>
                      <a:pt x="430875" y="162989"/>
                      <a:pt x="430875" y="176942"/>
                    </a:cubicBezTo>
                    <a:lnTo>
                      <a:pt x="430875" y="205381"/>
                    </a:lnTo>
                    <a:lnTo>
                      <a:pt x="455707" y="188762"/>
                    </a:lnTo>
                    <a:lnTo>
                      <a:pt x="455707" y="155613"/>
                    </a:lnTo>
                    <a:cubicBezTo>
                      <a:pt x="455707" y="126819"/>
                      <a:pt x="478047" y="103268"/>
                      <a:pt x="506351" y="101313"/>
                    </a:cubicBezTo>
                    <a:lnTo>
                      <a:pt x="506351" y="50568"/>
                    </a:lnTo>
                    <a:lnTo>
                      <a:pt x="480984" y="50568"/>
                    </a:lnTo>
                    <a:cubicBezTo>
                      <a:pt x="467011" y="50568"/>
                      <a:pt x="455707" y="39281"/>
                      <a:pt x="455707" y="25239"/>
                    </a:cubicBezTo>
                    <a:cubicBezTo>
                      <a:pt x="455707" y="11287"/>
                      <a:pt x="467011" y="0"/>
                      <a:pt x="480984" y="0"/>
                    </a:cubicBezTo>
                    <a:lnTo>
                      <a:pt x="582272" y="0"/>
                    </a:lnTo>
                    <a:cubicBezTo>
                      <a:pt x="596246" y="0"/>
                      <a:pt x="607639" y="11287"/>
                      <a:pt x="607639" y="25239"/>
                    </a:cubicBezTo>
                    <a:cubicBezTo>
                      <a:pt x="607639" y="39281"/>
                      <a:pt x="596246" y="50568"/>
                      <a:pt x="582272" y="50568"/>
                    </a:cubicBezTo>
                    <a:lnTo>
                      <a:pt x="556995" y="50568"/>
                    </a:lnTo>
                    <a:lnTo>
                      <a:pt x="556995" y="101313"/>
                    </a:lnTo>
                    <a:cubicBezTo>
                      <a:pt x="585299" y="103268"/>
                      <a:pt x="607639" y="126819"/>
                      <a:pt x="607639" y="155613"/>
                    </a:cubicBezTo>
                    <a:lnTo>
                      <a:pt x="607639" y="324734"/>
                    </a:lnTo>
                    <a:cubicBezTo>
                      <a:pt x="607639" y="354773"/>
                      <a:pt x="583163" y="379212"/>
                      <a:pt x="553079" y="379212"/>
                    </a:cubicBezTo>
                    <a:lnTo>
                      <a:pt x="510267" y="379212"/>
                    </a:lnTo>
                    <a:cubicBezTo>
                      <a:pt x="480094" y="379212"/>
                      <a:pt x="455707" y="354773"/>
                      <a:pt x="455707" y="324734"/>
                    </a:cubicBezTo>
                    <a:lnTo>
                      <a:pt x="455707" y="249639"/>
                    </a:lnTo>
                    <a:lnTo>
                      <a:pt x="430875" y="266257"/>
                    </a:lnTo>
                    <a:lnTo>
                      <a:pt x="430875" y="328645"/>
                    </a:lnTo>
                    <a:cubicBezTo>
                      <a:pt x="450634" y="344997"/>
                      <a:pt x="464519" y="368637"/>
                      <a:pt x="472885" y="397431"/>
                    </a:cubicBezTo>
                    <a:cubicBezTo>
                      <a:pt x="480896" y="425070"/>
                      <a:pt x="482943" y="453331"/>
                      <a:pt x="481697" y="477681"/>
                    </a:cubicBezTo>
                    <a:cubicBezTo>
                      <a:pt x="481608" y="479903"/>
                      <a:pt x="481519" y="481503"/>
                      <a:pt x="481430" y="482569"/>
                    </a:cubicBezTo>
                    <a:cubicBezTo>
                      <a:pt x="480183" y="496433"/>
                      <a:pt x="467901" y="506742"/>
                      <a:pt x="453927" y="505498"/>
                    </a:cubicBezTo>
                    <a:cubicBezTo>
                      <a:pt x="440042" y="504254"/>
                      <a:pt x="429717" y="491990"/>
                      <a:pt x="430964" y="478037"/>
                    </a:cubicBezTo>
                    <a:cubicBezTo>
                      <a:pt x="430964" y="477681"/>
                      <a:pt x="431053" y="476704"/>
                      <a:pt x="431142" y="475193"/>
                    </a:cubicBezTo>
                    <a:cubicBezTo>
                      <a:pt x="432121" y="455908"/>
                      <a:pt x="430430" y="432890"/>
                      <a:pt x="424288" y="411473"/>
                    </a:cubicBezTo>
                    <a:cubicBezTo>
                      <a:pt x="413430" y="373969"/>
                      <a:pt x="392424" y="353884"/>
                      <a:pt x="354953" y="353884"/>
                    </a:cubicBezTo>
                    <a:lnTo>
                      <a:pt x="329498" y="353884"/>
                    </a:lnTo>
                    <a:lnTo>
                      <a:pt x="329230" y="404452"/>
                    </a:lnTo>
                    <a:lnTo>
                      <a:pt x="379786" y="404452"/>
                    </a:lnTo>
                    <a:cubicBezTo>
                      <a:pt x="393759" y="404452"/>
                      <a:pt x="405063" y="415827"/>
                      <a:pt x="405063" y="429780"/>
                    </a:cubicBezTo>
                    <a:lnTo>
                      <a:pt x="405063" y="581394"/>
                    </a:lnTo>
                    <a:cubicBezTo>
                      <a:pt x="405063" y="595347"/>
                      <a:pt x="393759" y="606722"/>
                      <a:pt x="379786" y="606722"/>
                    </a:cubicBezTo>
                    <a:lnTo>
                      <a:pt x="227854" y="606722"/>
                    </a:lnTo>
                    <a:cubicBezTo>
                      <a:pt x="213880" y="606722"/>
                      <a:pt x="202576" y="595347"/>
                      <a:pt x="202576" y="581394"/>
                    </a:cubicBezTo>
                    <a:lnTo>
                      <a:pt x="202576" y="429780"/>
                    </a:lnTo>
                    <a:cubicBezTo>
                      <a:pt x="202576" y="415827"/>
                      <a:pt x="213880" y="404452"/>
                      <a:pt x="227854" y="404452"/>
                    </a:cubicBezTo>
                    <a:lnTo>
                      <a:pt x="278586" y="404452"/>
                    </a:lnTo>
                    <a:lnTo>
                      <a:pt x="278854" y="353884"/>
                    </a:lnTo>
                    <a:lnTo>
                      <a:pt x="253665" y="353884"/>
                    </a:lnTo>
                    <a:cubicBezTo>
                      <a:pt x="216194" y="353884"/>
                      <a:pt x="195189" y="373969"/>
                      <a:pt x="184330" y="411473"/>
                    </a:cubicBezTo>
                    <a:cubicBezTo>
                      <a:pt x="178100" y="432890"/>
                      <a:pt x="176497" y="455908"/>
                      <a:pt x="177388" y="475193"/>
                    </a:cubicBezTo>
                    <a:cubicBezTo>
                      <a:pt x="177477" y="476704"/>
                      <a:pt x="177566" y="477681"/>
                      <a:pt x="177566" y="478037"/>
                    </a:cubicBezTo>
                    <a:cubicBezTo>
                      <a:pt x="178812" y="491990"/>
                      <a:pt x="168576" y="504254"/>
                      <a:pt x="154602" y="505498"/>
                    </a:cubicBezTo>
                    <a:cubicBezTo>
                      <a:pt x="140717" y="506742"/>
                      <a:pt x="128435" y="496433"/>
                      <a:pt x="127189" y="482569"/>
                    </a:cubicBezTo>
                    <a:cubicBezTo>
                      <a:pt x="127100" y="481503"/>
                      <a:pt x="126922" y="479903"/>
                      <a:pt x="126833" y="477681"/>
                    </a:cubicBezTo>
                    <a:cubicBezTo>
                      <a:pt x="125675" y="453331"/>
                      <a:pt x="127723" y="425070"/>
                      <a:pt x="135644" y="397431"/>
                    </a:cubicBezTo>
                    <a:cubicBezTo>
                      <a:pt x="144011" y="368637"/>
                      <a:pt x="157895" y="344997"/>
                      <a:pt x="177744" y="328645"/>
                    </a:cubicBezTo>
                    <a:lnTo>
                      <a:pt x="177744" y="266346"/>
                    </a:lnTo>
                    <a:lnTo>
                      <a:pt x="151932" y="249283"/>
                    </a:lnTo>
                    <a:lnTo>
                      <a:pt x="151932" y="324734"/>
                    </a:lnTo>
                    <a:cubicBezTo>
                      <a:pt x="151932" y="354773"/>
                      <a:pt x="127456" y="379212"/>
                      <a:pt x="97372" y="379212"/>
                    </a:cubicBezTo>
                    <a:lnTo>
                      <a:pt x="54560" y="379212"/>
                    </a:lnTo>
                    <a:cubicBezTo>
                      <a:pt x="24387" y="379212"/>
                      <a:pt x="0" y="354773"/>
                      <a:pt x="0" y="324734"/>
                    </a:cubicBezTo>
                    <a:lnTo>
                      <a:pt x="0" y="155613"/>
                    </a:lnTo>
                    <a:cubicBezTo>
                      <a:pt x="0" y="126819"/>
                      <a:pt x="22340" y="103268"/>
                      <a:pt x="50644" y="101313"/>
                    </a:cubicBezTo>
                    <a:lnTo>
                      <a:pt x="50644" y="50568"/>
                    </a:lnTo>
                    <a:lnTo>
                      <a:pt x="25277" y="50568"/>
                    </a:lnTo>
                    <a:cubicBezTo>
                      <a:pt x="11304" y="50568"/>
                      <a:pt x="0" y="39281"/>
                      <a:pt x="0" y="25239"/>
                    </a:cubicBezTo>
                    <a:cubicBezTo>
                      <a:pt x="0" y="11287"/>
                      <a:pt x="11304" y="0"/>
                      <a:pt x="252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7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1B0A937A-A00F-4312-8A50-752179A28E6E}"/>
                </a:ext>
              </a:extLst>
            </p:cNvPr>
            <p:cNvCxnSpPr/>
            <p:nvPr/>
          </p:nvCxnSpPr>
          <p:spPr>
            <a:xfrm>
              <a:off x="8577522" y="2358367"/>
              <a:ext cx="0" cy="351278"/>
            </a:xfrm>
            <a:prstGeom prst="line">
              <a:avLst/>
            </a:prstGeom>
            <a:ln w="3175" cap="rnd">
              <a:solidFill>
                <a:schemeClr val="bg1"/>
              </a:solidFill>
              <a:prstDash val="dash"/>
              <a:round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7A6B3035-774C-4B91-AE23-26370CF2AC0D}"/>
                </a:ext>
              </a:extLst>
            </p:cNvPr>
            <p:cNvCxnSpPr/>
            <p:nvPr/>
          </p:nvCxnSpPr>
          <p:spPr>
            <a:xfrm>
              <a:off x="8577522" y="3296532"/>
              <a:ext cx="0" cy="351278"/>
            </a:xfrm>
            <a:prstGeom prst="line">
              <a:avLst/>
            </a:prstGeom>
            <a:ln w="3175" cap="rnd">
              <a:solidFill>
                <a:schemeClr val="bg1"/>
              </a:solidFill>
              <a:prstDash val="dash"/>
              <a:round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1FDCFD43-04BF-4B8D-8A6F-D7C0D026BC60}"/>
                </a:ext>
              </a:extLst>
            </p:cNvPr>
            <p:cNvCxnSpPr/>
            <p:nvPr/>
          </p:nvCxnSpPr>
          <p:spPr>
            <a:xfrm>
              <a:off x="8577522" y="4234697"/>
              <a:ext cx="0" cy="351278"/>
            </a:xfrm>
            <a:prstGeom prst="line">
              <a:avLst/>
            </a:prstGeom>
            <a:ln w="3175" cap="rnd">
              <a:solidFill>
                <a:schemeClr val="bg1"/>
              </a:solidFill>
              <a:prstDash val="dash"/>
              <a:round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9B9E58A4-1781-4B5B-ACBC-0CB4A710D85A}"/>
                </a:ext>
              </a:extLst>
            </p:cNvPr>
            <p:cNvCxnSpPr/>
            <p:nvPr/>
          </p:nvCxnSpPr>
          <p:spPr>
            <a:xfrm>
              <a:off x="8577522" y="5172863"/>
              <a:ext cx="0" cy="351278"/>
            </a:xfrm>
            <a:prstGeom prst="line">
              <a:avLst/>
            </a:prstGeom>
            <a:ln w="3175" cap="rnd">
              <a:solidFill>
                <a:schemeClr val="bg1"/>
              </a:solidFill>
              <a:prstDash val="dash"/>
              <a:round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animBg="1"/>
      <p:bldP spid="10" grpId="0" animBg="1"/>
      <p:bldP spid="53" grpId="0"/>
      <p:bldP spid="5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组合 20">
            <a:extLst>
              <a:ext uri="{FF2B5EF4-FFF2-40B4-BE49-F238E27FC236}">
                <a16:creationId xmlns:a16="http://schemas.microsoft.com/office/drawing/2014/main" id="{6F7873AF-9A8B-4B27-87EE-C115F7C3EA33}"/>
              </a:ext>
            </a:extLst>
          </p:cNvPr>
          <p:cNvGrpSpPr/>
          <p:nvPr/>
        </p:nvGrpSpPr>
        <p:grpSpPr>
          <a:xfrm>
            <a:off x="180473" y="120316"/>
            <a:ext cx="11869666" cy="2357268"/>
            <a:chOff x="180473" y="120316"/>
            <a:chExt cx="11869666" cy="2357268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8EBE3A87-0083-4EC6-9119-1D5B3EE0A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473" y="120316"/>
              <a:ext cx="4490019" cy="2330728"/>
            </a:xfrm>
            <a:prstGeom prst="rect">
              <a:avLst/>
            </a:prstGeom>
          </p:spPr>
        </p:pic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39DC9278-9D49-489F-AE4F-4CFA7C1E8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1422" y="120316"/>
              <a:ext cx="3496091" cy="2330727"/>
            </a:xfrm>
            <a:prstGeom prst="rect">
              <a:avLst/>
            </a:prstGeom>
          </p:spPr>
        </p:pic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7D8EFB16-918F-4D41-A0AE-68E690291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8444" y="120316"/>
              <a:ext cx="3741695" cy="2357268"/>
            </a:xfrm>
            <a:prstGeom prst="rect">
              <a:avLst/>
            </a:prstGeom>
          </p:spPr>
        </p:pic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BBE926A9-F2CE-41E4-AB7F-496D36A66BD5}"/>
              </a:ext>
            </a:extLst>
          </p:cNvPr>
          <p:cNvSpPr txBox="1"/>
          <p:nvPr/>
        </p:nvSpPr>
        <p:spPr>
          <a:xfrm>
            <a:off x="6312820" y="4188674"/>
            <a:ext cx="2302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3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30E41C2-0DE8-4152-AA33-D738C5D30FFA}"/>
              </a:ext>
            </a:extLst>
          </p:cNvPr>
          <p:cNvSpPr txBox="1"/>
          <p:nvPr/>
        </p:nvSpPr>
        <p:spPr>
          <a:xfrm>
            <a:off x="6312820" y="5013190"/>
            <a:ext cx="1621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市场分析</a:t>
            </a:r>
          </a:p>
        </p:txBody>
      </p:sp>
      <p:sp>
        <p:nvSpPr>
          <p:cNvPr id="20" name="流程图: 过程 19">
            <a:extLst>
              <a:ext uri="{FF2B5EF4-FFF2-40B4-BE49-F238E27FC236}">
                <a16:creationId xmlns:a16="http://schemas.microsoft.com/office/drawing/2014/main" id="{244BD30B-9070-4C6C-B9DA-0C4E93E091CA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F7EE539A-5FAA-40D0-A66C-B948043201F7}"/>
              </a:ext>
            </a:extLst>
          </p:cNvPr>
          <p:cNvGrpSpPr/>
          <p:nvPr/>
        </p:nvGrpSpPr>
        <p:grpSpPr>
          <a:xfrm>
            <a:off x="3696348" y="3866294"/>
            <a:ext cx="1947600" cy="1947600"/>
            <a:chOff x="8016509" y="3824986"/>
            <a:chExt cx="1291814" cy="1291814"/>
          </a:xfrm>
        </p:grpSpPr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AB95B3DB-7BA9-44EC-90B4-E46AED3A73BE}"/>
                </a:ext>
              </a:extLst>
            </p:cNvPr>
            <p:cNvSpPr/>
            <p:nvPr/>
          </p:nvSpPr>
          <p:spPr>
            <a:xfrm>
              <a:off x="8156448" y="3957739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4" name="空心弧 23">
              <a:extLst>
                <a:ext uri="{FF2B5EF4-FFF2-40B4-BE49-F238E27FC236}">
                  <a16:creationId xmlns:a16="http://schemas.microsoft.com/office/drawing/2014/main" id="{A4624983-4446-4EF2-A5B1-FA5CF4DA3DDF}"/>
                </a:ext>
              </a:extLst>
            </p:cNvPr>
            <p:cNvSpPr/>
            <p:nvPr/>
          </p:nvSpPr>
          <p:spPr>
            <a:xfrm rot="10610290">
              <a:off x="8016509" y="3824986"/>
              <a:ext cx="1291814" cy="1291814"/>
            </a:xfrm>
            <a:prstGeom prst="blockArc">
              <a:avLst>
                <a:gd name="adj1" fmla="val 7518296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2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5" name="analytics_230928">
              <a:extLst>
                <a:ext uri="{FF2B5EF4-FFF2-40B4-BE49-F238E27FC236}">
                  <a16:creationId xmlns:a16="http://schemas.microsoft.com/office/drawing/2014/main" id="{CA348305-5AB8-4BFA-96E0-FF2F9B81B81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34859" y="4217950"/>
              <a:ext cx="525184" cy="524389"/>
            </a:xfrm>
            <a:custGeom>
              <a:avLst/>
              <a:gdLst>
                <a:gd name="T0" fmla="*/ 4096 w 6827"/>
                <a:gd name="T1" fmla="*/ 4551 h 6827"/>
                <a:gd name="T2" fmla="*/ 6258 w 6827"/>
                <a:gd name="T3" fmla="*/ 4096 h 6827"/>
                <a:gd name="T4" fmla="*/ 2348 w 6827"/>
                <a:gd name="T5" fmla="*/ 4911 h 6827"/>
                <a:gd name="T6" fmla="*/ 569 w 6827"/>
                <a:gd name="T7" fmla="*/ 4551 h 6827"/>
                <a:gd name="T8" fmla="*/ 569 w 6827"/>
                <a:gd name="T9" fmla="*/ 3982 h 6827"/>
                <a:gd name="T10" fmla="*/ 1707 w 6827"/>
                <a:gd name="T11" fmla="*/ 2503 h 6827"/>
                <a:gd name="T12" fmla="*/ 3868 w 6827"/>
                <a:gd name="T13" fmla="*/ 2731 h 6827"/>
                <a:gd name="T14" fmla="*/ 5827 w 6827"/>
                <a:gd name="T15" fmla="*/ 2004 h 6827"/>
                <a:gd name="T16" fmla="*/ 6258 w 6827"/>
                <a:gd name="T17" fmla="*/ 1820 h 6827"/>
                <a:gd name="T18" fmla="*/ 4779 w 6827"/>
                <a:gd name="T19" fmla="*/ 0 h 6827"/>
                <a:gd name="T20" fmla="*/ 2854 w 6827"/>
                <a:gd name="T21" fmla="*/ 2381 h 6827"/>
                <a:gd name="T22" fmla="*/ 1239 w 6827"/>
                <a:gd name="T23" fmla="*/ 2257 h 6827"/>
                <a:gd name="T24" fmla="*/ 569 w 6827"/>
                <a:gd name="T25" fmla="*/ 2844 h 6827"/>
                <a:gd name="T26" fmla="*/ 569 w 6827"/>
                <a:gd name="T27" fmla="*/ 2276 h 6827"/>
                <a:gd name="T28" fmla="*/ 569 w 6827"/>
                <a:gd name="T29" fmla="*/ 1707 h 6827"/>
                <a:gd name="T30" fmla="*/ 569 w 6827"/>
                <a:gd name="T31" fmla="*/ 1138 h 6827"/>
                <a:gd name="T32" fmla="*/ 569 w 6827"/>
                <a:gd name="T33" fmla="*/ 569 h 6827"/>
                <a:gd name="T34" fmla="*/ 341 w 6827"/>
                <a:gd name="T35" fmla="*/ 0 h 6827"/>
                <a:gd name="T36" fmla="*/ 114 w 6827"/>
                <a:gd name="T37" fmla="*/ 569 h 6827"/>
                <a:gd name="T38" fmla="*/ 114 w 6827"/>
                <a:gd name="T39" fmla="*/ 1138 h 6827"/>
                <a:gd name="T40" fmla="*/ 114 w 6827"/>
                <a:gd name="T41" fmla="*/ 1707 h 6827"/>
                <a:gd name="T42" fmla="*/ 114 w 6827"/>
                <a:gd name="T43" fmla="*/ 2276 h 6827"/>
                <a:gd name="T44" fmla="*/ 114 w 6827"/>
                <a:gd name="T45" fmla="*/ 2844 h 6827"/>
                <a:gd name="T46" fmla="*/ 114 w 6827"/>
                <a:gd name="T47" fmla="*/ 3413 h 6827"/>
                <a:gd name="T48" fmla="*/ 114 w 6827"/>
                <a:gd name="T49" fmla="*/ 3982 h 6827"/>
                <a:gd name="T50" fmla="*/ 114 w 6827"/>
                <a:gd name="T51" fmla="*/ 4551 h 6827"/>
                <a:gd name="T52" fmla="*/ 114 w 6827"/>
                <a:gd name="T53" fmla="*/ 5120 h 6827"/>
                <a:gd name="T54" fmla="*/ 114 w 6827"/>
                <a:gd name="T55" fmla="*/ 5689 h 6827"/>
                <a:gd name="T56" fmla="*/ 114 w 6827"/>
                <a:gd name="T57" fmla="*/ 6258 h 6827"/>
                <a:gd name="T58" fmla="*/ 683 w 6827"/>
                <a:gd name="T59" fmla="*/ 6713 h 6827"/>
                <a:gd name="T60" fmla="*/ 1252 w 6827"/>
                <a:gd name="T61" fmla="*/ 6713 h 6827"/>
                <a:gd name="T62" fmla="*/ 1820 w 6827"/>
                <a:gd name="T63" fmla="*/ 6713 h 6827"/>
                <a:gd name="T64" fmla="*/ 2389 w 6827"/>
                <a:gd name="T65" fmla="*/ 6713 h 6827"/>
                <a:gd name="T66" fmla="*/ 2958 w 6827"/>
                <a:gd name="T67" fmla="*/ 6713 h 6827"/>
                <a:gd name="T68" fmla="*/ 3527 w 6827"/>
                <a:gd name="T69" fmla="*/ 6713 h 6827"/>
                <a:gd name="T70" fmla="*/ 4096 w 6827"/>
                <a:gd name="T71" fmla="*/ 6713 h 6827"/>
                <a:gd name="T72" fmla="*/ 4665 w 6827"/>
                <a:gd name="T73" fmla="*/ 6713 h 6827"/>
                <a:gd name="T74" fmla="*/ 5234 w 6827"/>
                <a:gd name="T75" fmla="*/ 6713 h 6827"/>
                <a:gd name="T76" fmla="*/ 5803 w 6827"/>
                <a:gd name="T77" fmla="*/ 6713 h 6827"/>
                <a:gd name="T78" fmla="*/ 6371 w 6827"/>
                <a:gd name="T79" fmla="*/ 6713 h 6827"/>
                <a:gd name="T80" fmla="*/ 6827 w 6827"/>
                <a:gd name="T81" fmla="*/ 6485 h 6827"/>
                <a:gd name="T82" fmla="*/ 6371 w 6827"/>
                <a:gd name="T83" fmla="*/ 6258 h 6827"/>
                <a:gd name="T84" fmla="*/ 5803 w 6827"/>
                <a:gd name="T85" fmla="*/ 6258 h 6827"/>
                <a:gd name="T86" fmla="*/ 5234 w 6827"/>
                <a:gd name="T87" fmla="*/ 6258 h 6827"/>
                <a:gd name="T88" fmla="*/ 4665 w 6827"/>
                <a:gd name="T89" fmla="*/ 6258 h 6827"/>
                <a:gd name="T90" fmla="*/ 4096 w 6827"/>
                <a:gd name="T91" fmla="*/ 6258 h 6827"/>
                <a:gd name="T92" fmla="*/ 3527 w 6827"/>
                <a:gd name="T93" fmla="*/ 6258 h 6827"/>
                <a:gd name="T94" fmla="*/ 2958 w 6827"/>
                <a:gd name="T95" fmla="*/ 6258 h 6827"/>
                <a:gd name="T96" fmla="*/ 2389 w 6827"/>
                <a:gd name="T97" fmla="*/ 6258 h 6827"/>
                <a:gd name="T98" fmla="*/ 1820 w 6827"/>
                <a:gd name="T99" fmla="*/ 6258 h 6827"/>
                <a:gd name="T100" fmla="*/ 1252 w 6827"/>
                <a:gd name="T101" fmla="*/ 6258 h 6827"/>
                <a:gd name="T102" fmla="*/ 683 w 6827"/>
                <a:gd name="T103" fmla="*/ 6258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826" h="6826">
                  <a:moveTo>
                    <a:pt x="1263" y="5234"/>
                  </a:moveTo>
                  <a:cubicBezTo>
                    <a:pt x="1316" y="5493"/>
                    <a:pt x="1546" y="5689"/>
                    <a:pt x="1820" y="5689"/>
                  </a:cubicBezTo>
                  <a:cubicBezTo>
                    <a:pt x="2114" y="5689"/>
                    <a:pt x="2354" y="5464"/>
                    <a:pt x="2383" y="5178"/>
                  </a:cubicBezTo>
                  <a:lnTo>
                    <a:pt x="3568" y="4191"/>
                  </a:lnTo>
                  <a:cubicBezTo>
                    <a:pt x="3652" y="4401"/>
                    <a:pt x="3856" y="4551"/>
                    <a:pt x="4096" y="4551"/>
                  </a:cubicBezTo>
                  <a:cubicBezTo>
                    <a:pt x="4348" y="4551"/>
                    <a:pt x="4560" y="4385"/>
                    <a:pt x="4635" y="4157"/>
                  </a:cubicBezTo>
                  <a:lnTo>
                    <a:pt x="5696" y="4736"/>
                  </a:lnTo>
                  <a:cubicBezTo>
                    <a:pt x="5732" y="5016"/>
                    <a:pt x="5969" y="5234"/>
                    <a:pt x="6258" y="5234"/>
                  </a:cubicBezTo>
                  <a:cubicBezTo>
                    <a:pt x="6571" y="5234"/>
                    <a:pt x="6827" y="4979"/>
                    <a:pt x="6827" y="4665"/>
                  </a:cubicBezTo>
                  <a:cubicBezTo>
                    <a:pt x="6827" y="4351"/>
                    <a:pt x="6571" y="4096"/>
                    <a:pt x="6258" y="4096"/>
                  </a:cubicBezTo>
                  <a:cubicBezTo>
                    <a:pt x="6006" y="4096"/>
                    <a:pt x="5794" y="4262"/>
                    <a:pt x="5719" y="4490"/>
                  </a:cubicBezTo>
                  <a:lnTo>
                    <a:pt x="4658" y="3911"/>
                  </a:lnTo>
                  <a:cubicBezTo>
                    <a:pt x="4622" y="3631"/>
                    <a:pt x="4385" y="3413"/>
                    <a:pt x="4096" y="3413"/>
                  </a:cubicBezTo>
                  <a:cubicBezTo>
                    <a:pt x="3802" y="3413"/>
                    <a:pt x="3563" y="3638"/>
                    <a:pt x="3533" y="3924"/>
                  </a:cubicBezTo>
                  <a:lnTo>
                    <a:pt x="2348" y="4911"/>
                  </a:lnTo>
                  <a:cubicBezTo>
                    <a:pt x="2265" y="4701"/>
                    <a:pt x="2060" y="4551"/>
                    <a:pt x="1820" y="4551"/>
                  </a:cubicBezTo>
                  <a:cubicBezTo>
                    <a:pt x="1546" y="4551"/>
                    <a:pt x="1316" y="4747"/>
                    <a:pt x="1263" y="5006"/>
                  </a:cubicBezTo>
                  <a:lnTo>
                    <a:pt x="455" y="5006"/>
                  </a:lnTo>
                  <a:lnTo>
                    <a:pt x="455" y="4551"/>
                  </a:lnTo>
                  <a:lnTo>
                    <a:pt x="569" y="4551"/>
                  </a:lnTo>
                  <a:cubicBezTo>
                    <a:pt x="632" y="4551"/>
                    <a:pt x="683" y="4500"/>
                    <a:pt x="683" y="4437"/>
                  </a:cubicBezTo>
                  <a:cubicBezTo>
                    <a:pt x="683" y="4374"/>
                    <a:pt x="632" y="4324"/>
                    <a:pt x="569" y="4324"/>
                  </a:cubicBezTo>
                  <a:lnTo>
                    <a:pt x="455" y="4324"/>
                  </a:lnTo>
                  <a:lnTo>
                    <a:pt x="455" y="3982"/>
                  </a:lnTo>
                  <a:lnTo>
                    <a:pt x="569" y="3982"/>
                  </a:lnTo>
                  <a:cubicBezTo>
                    <a:pt x="632" y="3982"/>
                    <a:pt x="683" y="3931"/>
                    <a:pt x="683" y="3868"/>
                  </a:cubicBezTo>
                  <a:cubicBezTo>
                    <a:pt x="683" y="3806"/>
                    <a:pt x="632" y="3755"/>
                    <a:pt x="569" y="3755"/>
                  </a:cubicBezTo>
                  <a:lnTo>
                    <a:pt x="480" y="3755"/>
                  </a:lnTo>
                  <a:lnTo>
                    <a:pt x="1407" y="2416"/>
                  </a:lnTo>
                  <a:cubicBezTo>
                    <a:pt x="1494" y="2470"/>
                    <a:pt x="1596" y="2503"/>
                    <a:pt x="1707" y="2503"/>
                  </a:cubicBezTo>
                  <a:cubicBezTo>
                    <a:pt x="1888" y="2503"/>
                    <a:pt x="2048" y="2416"/>
                    <a:pt x="2152" y="2284"/>
                  </a:cubicBezTo>
                  <a:lnTo>
                    <a:pt x="2752" y="2584"/>
                  </a:lnTo>
                  <a:cubicBezTo>
                    <a:pt x="2740" y="2631"/>
                    <a:pt x="2731" y="2680"/>
                    <a:pt x="2731" y="2731"/>
                  </a:cubicBezTo>
                  <a:cubicBezTo>
                    <a:pt x="2731" y="3044"/>
                    <a:pt x="2986" y="3300"/>
                    <a:pt x="3300" y="3300"/>
                  </a:cubicBezTo>
                  <a:cubicBezTo>
                    <a:pt x="3613" y="3300"/>
                    <a:pt x="3868" y="3044"/>
                    <a:pt x="3868" y="2731"/>
                  </a:cubicBezTo>
                  <a:cubicBezTo>
                    <a:pt x="3868" y="2608"/>
                    <a:pt x="3829" y="2496"/>
                    <a:pt x="3763" y="2403"/>
                  </a:cubicBezTo>
                  <a:lnTo>
                    <a:pt x="4488" y="1055"/>
                  </a:lnTo>
                  <a:cubicBezTo>
                    <a:pt x="4574" y="1107"/>
                    <a:pt x="4672" y="1138"/>
                    <a:pt x="4779" y="1138"/>
                  </a:cubicBezTo>
                  <a:cubicBezTo>
                    <a:pt x="4891" y="1138"/>
                    <a:pt x="4995" y="1104"/>
                    <a:pt x="5083" y="1048"/>
                  </a:cubicBezTo>
                  <a:lnTo>
                    <a:pt x="5827" y="2004"/>
                  </a:lnTo>
                  <a:cubicBezTo>
                    <a:pt x="5829" y="2007"/>
                    <a:pt x="5833" y="2009"/>
                    <a:pt x="5836" y="2011"/>
                  </a:cubicBezTo>
                  <a:cubicBezTo>
                    <a:pt x="5745" y="2112"/>
                    <a:pt x="5689" y="2244"/>
                    <a:pt x="5689" y="2389"/>
                  </a:cubicBezTo>
                  <a:cubicBezTo>
                    <a:pt x="5689" y="2703"/>
                    <a:pt x="5944" y="2958"/>
                    <a:pt x="6258" y="2958"/>
                  </a:cubicBezTo>
                  <a:cubicBezTo>
                    <a:pt x="6571" y="2958"/>
                    <a:pt x="6827" y="2703"/>
                    <a:pt x="6827" y="2389"/>
                  </a:cubicBezTo>
                  <a:cubicBezTo>
                    <a:pt x="6827" y="2076"/>
                    <a:pt x="6571" y="1820"/>
                    <a:pt x="6258" y="1820"/>
                  </a:cubicBezTo>
                  <a:cubicBezTo>
                    <a:pt x="6170" y="1820"/>
                    <a:pt x="6087" y="1842"/>
                    <a:pt x="6013" y="1878"/>
                  </a:cubicBezTo>
                  <a:cubicBezTo>
                    <a:pt x="6010" y="1874"/>
                    <a:pt x="6010" y="1869"/>
                    <a:pt x="6006" y="1864"/>
                  </a:cubicBezTo>
                  <a:lnTo>
                    <a:pt x="5248" y="890"/>
                  </a:lnTo>
                  <a:cubicBezTo>
                    <a:pt x="5311" y="798"/>
                    <a:pt x="5348" y="688"/>
                    <a:pt x="5348" y="569"/>
                  </a:cubicBezTo>
                  <a:cubicBezTo>
                    <a:pt x="5348" y="255"/>
                    <a:pt x="5092" y="0"/>
                    <a:pt x="4779" y="0"/>
                  </a:cubicBezTo>
                  <a:cubicBezTo>
                    <a:pt x="4465" y="0"/>
                    <a:pt x="4210" y="255"/>
                    <a:pt x="4210" y="569"/>
                  </a:cubicBezTo>
                  <a:cubicBezTo>
                    <a:pt x="4210" y="691"/>
                    <a:pt x="4249" y="804"/>
                    <a:pt x="4315" y="897"/>
                  </a:cubicBezTo>
                  <a:lnTo>
                    <a:pt x="3590" y="2244"/>
                  </a:lnTo>
                  <a:cubicBezTo>
                    <a:pt x="3505" y="2193"/>
                    <a:pt x="3406" y="2162"/>
                    <a:pt x="3300" y="2162"/>
                  </a:cubicBezTo>
                  <a:cubicBezTo>
                    <a:pt x="3118" y="2162"/>
                    <a:pt x="2959" y="2248"/>
                    <a:pt x="2854" y="2381"/>
                  </a:cubicBezTo>
                  <a:lnTo>
                    <a:pt x="2254" y="2081"/>
                  </a:lnTo>
                  <a:cubicBezTo>
                    <a:pt x="2267" y="2034"/>
                    <a:pt x="2276" y="1985"/>
                    <a:pt x="2276" y="1934"/>
                  </a:cubicBezTo>
                  <a:cubicBezTo>
                    <a:pt x="2276" y="1621"/>
                    <a:pt x="2020" y="1365"/>
                    <a:pt x="1707" y="1365"/>
                  </a:cubicBezTo>
                  <a:cubicBezTo>
                    <a:pt x="1393" y="1365"/>
                    <a:pt x="1138" y="1621"/>
                    <a:pt x="1138" y="1934"/>
                  </a:cubicBezTo>
                  <a:cubicBezTo>
                    <a:pt x="1138" y="2054"/>
                    <a:pt x="1176" y="2166"/>
                    <a:pt x="1239" y="2257"/>
                  </a:cubicBezTo>
                  <a:lnTo>
                    <a:pt x="593" y="3191"/>
                  </a:lnTo>
                  <a:cubicBezTo>
                    <a:pt x="585" y="3189"/>
                    <a:pt x="578" y="3186"/>
                    <a:pt x="569" y="3186"/>
                  </a:cubicBezTo>
                  <a:lnTo>
                    <a:pt x="455" y="3186"/>
                  </a:lnTo>
                  <a:lnTo>
                    <a:pt x="455" y="2844"/>
                  </a:lnTo>
                  <a:lnTo>
                    <a:pt x="569" y="2844"/>
                  </a:lnTo>
                  <a:cubicBezTo>
                    <a:pt x="632" y="2844"/>
                    <a:pt x="683" y="2794"/>
                    <a:pt x="683" y="2731"/>
                  </a:cubicBezTo>
                  <a:cubicBezTo>
                    <a:pt x="683" y="2668"/>
                    <a:pt x="632" y="2617"/>
                    <a:pt x="569" y="2617"/>
                  </a:cubicBezTo>
                  <a:lnTo>
                    <a:pt x="455" y="2617"/>
                  </a:lnTo>
                  <a:lnTo>
                    <a:pt x="455" y="2276"/>
                  </a:lnTo>
                  <a:lnTo>
                    <a:pt x="569" y="2276"/>
                  </a:lnTo>
                  <a:cubicBezTo>
                    <a:pt x="632" y="2276"/>
                    <a:pt x="683" y="2225"/>
                    <a:pt x="683" y="2162"/>
                  </a:cubicBezTo>
                  <a:cubicBezTo>
                    <a:pt x="683" y="2099"/>
                    <a:pt x="632" y="2048"/>
                    <a:pt x="569" y="2048"/>
                  </a:cubicBezTo>
                  <a:lnTo>
                    <a:pt x="455" y="2048"/>
                  </a:lnTo>
                  <a:lnTo>
                    <a:pt x="455" y="1707"/>
                  </a:lnTo>
                  <a:lnTo>
                    <a:pt x="569" y="1707"/>
                  </a:lnTo>
                  <a:cubicBezTo>
                    <a:pt x="632" y="1707"/>
                    <a:pt x="683" y="1656"/>
                    <a:pt x="683" y="1593"/>
                  </a:cubicBezTo>
                  <a:cubicBezTo>
                    <a:pt x="683" y="1530"/>
                    <a:pt x="632" y="1479"/>
                    <a:pt x="569" y="1479"/>
                  </a:cubicBezTo>
                  <a:lnTo>
                    <a:pt x="455" y="1479"/>
                  </a:lnTo>
                  <a:lnTo>
                    <a:pt x="455" y="1138"/>
                  </a:lnTo>
                  <a:lnTo>
                    <a:pt x="569" y="1138"/>
                  </a:lnTo>
                  <a:cubicBezTo>
                    <a:pt x="632" y="1138"/>
                    <a:pt x="683" y="1087"/>
                    <a:pt x="683" y="1024"/>
                  </a:cubicBezTo>
                  <a:cubicBezTo>
                    <a:pt x="683" y="961"/>
                    <a:pt x="632" y="910"/>
                    <a:pt x="569" y="910"/>
                  </a:cubicBezTo>
                  <a:lnTo>
                    <a:pt x="455" y="910"/>
                  </a:lnTo>
                  <a:lnTo>
                    <a:pt x="455" y="569"/>
                  </a:lnTo>
                  <a:lnTo>
                    <a:pt x="569" y="569"/>
                  </a:lnTo>
                  <a:cubicBezTo>
                    <a:pt x="632" y="569"/>
                    <a:pt x="683" y="518"/>
                    <a:pt x="683" y="455"/>
                  </a:cubicBezTo>
                  <a:cubicBezTo>
                    <a:pt x="683" y="392"/>
                    <a:pt x="632" y="341"/>
                    <a:pt x="569" y="341"/>
                  </a:cubicBezTo>
                  <a:lnTo>
                    <a:pt x="455" y="341"/>
                  </a:lnTo>
                  <a:lnTo>
                    <a:pt x="455" y="114"/>
                  </a:lnTo>
                  <a:cubicBezTo>
                    <a:pt x="455" y="51"/>
                    <a:pt x="404" y="0"/>
                    <a:pt x="341" y="0"/>
                  </a:cubicBezTo>
                  <a:cubicBezTo>
                    <a:pt x="278" y="0"/>
                    <a:pt x="228" y="51"/>
                    <a:pt x="228" y="114"/>
                  </a:cubicBezTo>
                  <a:lnTo>
                    <a:pt x="228" y="341"/>
                  </a:lnTo>
                  <a:lnTo>
                    <a:pt x="114" y="341"/>
                  </a:lnTo>
                  <a:cubicBezTo>
                    <a:pt x="51" y="341"/>
                    <a:pt x="0" y="392"/>
                    <a:pt x="0" y="455"/>
                  </a:cubicBezTo>
                  <a:cubicBezTo>
                    <a:pt x="0" y="518"/>
                    <a:pt x="51" y="569"/>
                    <a:pt x="114" y="569"/>
                  </a:cubicBezTo>
                  <a:lnTo>
                    <a:pt x="228" y="569"/>
                  </a:lnTo>
                  <a:lnTo>
                    <a:pt x="228" y="910"/>
                  </a:lnTo>
                  <a:lnTo>
                    <a:pt x="114" y="910"/>
                  </a:lnTo>
                  <a:cubicBezTo>
                    <a:pt x="51" y="910"/>
                    <a:pt x="0" y="961"/>
                    <a:pt x="0" y="1024"/>
                  </a:cubicBezTo>
                  <a:cubicBezTo>
                    <a:pt x="0" y="1087"/>
                    <a:pt x="51" y="1138"/>
                    <a:pt x="114" y="1138"/>
                  </a:cubicBezTo>
                  <a:lnTo>
                    <a:pt x="228" y="1138"/>
                  </a:lnTo>
                  <a:lnTo>
                    <a:pt x="228" y="1479"/>
                  </a:lnTo>
                  <a:lnTo>
                    <a:pt x="114" y="1479"/>
                  </a:lnTo>
                  <a:cubicBezTo>
                    <a:pt x="51" y="1479"/>
                    <a:pt x="0" y="1530"/>
                    <a:pt x="0" y="1593"/>
                  </a:cubicBezTo>
                  <a:cubicBezTo>
                    <a:pt x="0" y="1656"/>
                    <a:pt x="51" y="1707"/>
                    <a:pt x="114" y="1707"/>
                  </a:cubicBezTo>
                  <a:lnTo>
                    <a:pt x="228" y="1707"/>
                  </a:lnTo>
                  <a:lnTo>
                    <a:pt x="228" y="2048"/>
                  </a:lnTo>
                  <a:lnTo>
                    <a:pt x="114" y="2048"/>
                  </a:lnTo>
                  <a:cubicBezTo>
                    <a:pt x="51" y="2048"/>
                    <a:pt x="0" y="2099"/>
                    <a:pt x="0" y="2162"/>
                  </a:cubicBezTo>
                  <a:cubicBezTo>
                    <a:pt x="0" y="2225"/>
                    <a:pt x="51" y="2276"/>
                    <a:pt x="114" y="2276"/>
                  </a:cubicBezTo>
                  <a:lnTo>
                    <a:pt x="228" y="2276"/>
                  </a:lnTo>
                  <a:lnTo>
                    <a:pt x="228" y="2617"/>
                  </a:lnTo>
                  <a:lnTo>
                    <a:pt x="114" y="2617"/>
                  </a:lnTo>
                  <a:cubicBezTo>
                    <a:pt x="51" y="2617"/>
                    <a:pt x="0" y="2668"/>
                    <a:pt x="0" y="2731"/>
                  </a:cubicBezTo>
                  <a:cubicBezTo>
                    <a:pt x="0" y="2794"/>
                    <a:pt x="51" y="2844"/>
                    <a:pt x="114" y="2844"/>
                  </a:cubicBezTo>
                  <a:lnTo>
                    <a:pt x="228" y="2844"/>
                  </a:lnTo>
                  <a:lnTo>
                    <a:pt x="228" y="3186"/>
                  </a:lnTo>
                  <a:lnTo>
                    <a:pt x="114" y="3186"/>
                  </a:lnTo>
                  <a:cubicBezTo>
                    <a:pt x="51" y="3186"/>
                    <a:pt x="0" y="3237"/>
                    <a:pt x="0" y="3300"/>
                  </a:cubicBezTo>
                  <a:cubicBezTo>
                    <a:pt x="0" y="3362"/>
                    <a:pt x="51" y="3413"/>
                    <a:pt x="114" y="3413"/>
                  </a:cubicBezTo>
                  <a:lnTo>
                    <a:pt x="228" y="3413"/>
                  </a:lnTo>
                  <a:lnTo>
                    <a:pt x="228" y="3755"/>
                  </a:lnTo>
                  <a:lnTo>
                    <a:pt x="114" y="3755"/>
                  </a:lnTo>
                  <a:cubicBezTo>
                    <a:pt x="51" y="3755"/>
                    <a:pt x="0" y="3806"/>
                    <a:pt x="0" y="3868"/>
                  </a:cubicBezTo>
                  <a:cubicBezTo>
                    <a:pt x="0" y="3931"/>
                    <a:pt x="51" y="3982"/>
                    <a:pt x="114" y="3982"/>
                  </a:cubicBezTo>
                  <a:lnTo>
                    <a:pt x="228" y="3982"/>
                  </a:lnTo>
                  <a:lnTo>
                    <a:pt x="228" y="4324"/>
                  </a:lnTo>
                  <a:lnTo>
                    <a:pt x="114" y="4324"/>
                  </a:lnTo>
                  <a:cubicBezTo>
                    <a:pt x="51" y="4324"/>
                    <a:pt x="0" y="4374"/>
                    <a:pt x="0" y="4437"/>
                  </a:cubicBezTo>
                  <a:cubicBezTo>
                    <a:pt x="0" y="4500"/>
                    <a:pt x="51" y="4551"/>
                    <a:pt x="114" y="4551"/>
                  </a:cubicBezTo>
                  <a:lnTo>
                    <a:pt x="228" y="4551"/>
                  </a:lnTo>
                  <a:lnTo>
                    <a:pt x="228" y="4892"/>
                  </a:lnTo>
                  <a:lnTo>
                    <a:pt x="114" y="4892"/>
                  </a:lnTo>
                  <a:cubicBezTo>
                    <a:pt x="51" y="4892"/>
                    <a:pt x="0" y="4943"/>
                    <a:pt x="0" y="5006"/>
                  </a:cubicBezTo>
                  <a:cubicBezTo>
                    <a:pt x="0" y="5069"/>
                    <a:pt x="51" y="5120"/>
                    <a:pt x="114" y="5120"/>
                  </a:cubicBezTo>
                  <a:lnTo>
                    <a:pt x="228" y="5120"/>
                  </a:lnTo>
                  <a:lnTo>
                    <a:pt x="228" y="5461"/>
                  </a:lnTo>
                  <a:lnTo>
                    <a:pt x="114" y="5461"/>
                  </a:lnTo>
                  <a:cubicBezTo>
                    <a:pt x="51" y="5461"/>
                    <a:pt x="0" y="5512"/>
                    <a:pt x="0" y="5575"/>
                  </a:cubicBezTo>
                  <a:cubicBezTo>
                    <a:pt x="0" y="5638"/>
                    <a:pt x="51" y="5689"/>
                    <a:pt x="114" y="5689"/>
                  </a:cubicBezTo>
                  <a:lnTo>
                    <a:pt x="228" y="5689"/>
                  </a:lnTo>
                  <a:lnTo>
                    <a:pt x="228" y="6030"/>
                  </a:lnTo>
                  <a:lnTo>
                    <a:pt x="114" y="6030"/>
                  </a:lnTo>
                  <a:cubicBezTo>
                    <a:pt x="51" y="6030"/>
                    <a:pt x="0" y="6081"/>
                    <a:pt x="0" y="6144"/>
                  </a:cubicBezTo>
                  <a:cubicBezTo>
                    <a:pt x="0" y="6207"/>
                    <a:pt x="51" y="6258"/>
                    <a:pt x="114" y="6258"/>
                  </a:cubicBezTo>
                  <a:lnTo>
                    <a:pt x="228" y="6258"/>
                  </a:lnTo>
                  <a:lnTo>
                    <a:pt x="228" y="6485"/>
                  </a:lnTo>
                  <a:cubicBezTo>
                    <a:pt x="228" y="6548"/>
                    <a:pt x="278" y="6599"/>
                    <a:pt x="341" y="6599"/>
                  </a:cubicBezTo>
                  <a:lnTo>
                    <a:pt x="683" y="6599"/>
                  </a:lnTo>
                  <a:lnTo>
                    <a:pt x="683" y="6713"/>
                  </a:lnTo>
                  <a:cubicBezTo>
                    <a:pt x="683" y="6776"/>
                    <a:pt x="734" y="6827"/>
                    <a:pt x="796" y="6827"/>
                  </a:cubicBezTo>
                  <a:cubicBezTo>
                    <a:pt x="859" y="6827"/>
                    <a:pt x="910" y="6776"/>
                    <a:pt x="910" y="6713"/>
                  </a:cubicBezTo>
                  <a:lnTo>
                    <a:pt x="910" y="6599"/>
                  </a:lnTo>
                  <a:lnTo>
                    <a:pt x="1252" y="6599"/>
                  </a:lnTo>
                  <a:lnTo>
                    <a:pt x="1252" y="6713"/>
                  </a:lnTo>
                  <a:cubicBezTo>
                    <a:pt x="1252" y="6776"/>
                    <a:pt x="1302" y="6827"/>
                    <a:pt x="1365" y="6827"/>
                  </a:cubicBezTo>
                  <a:cubicBezTo>
                    <a:pt x="1428" y="6827"/>
                    <a:pt x="1479" y="6776"/>
                    <a:pt x="1479" y="6713"/>
                  </a:cubicBezTo>
                  <a:lnTo>
                    <a:pt x="1479" y="6599"/>
                  </a:lnTo>
                  <a:lnTo>
                    <a:pt x="1820" y="6599"/>
                  </a:lnTo>
                  <a:lnTo>
                    <a:pt x="1820" y="6713"/>
                  </a:lnTo>
                  <a:cubicBezTo>
                    <a:pt x="1820" y="6776"/>
                    <a:pt x="1871" y="6827"/>
                    <a:pt x="1934" y="6827"/>
                  </a:cubicBezTo>
                  <a:cubicBezTo>
                    <a:pt x="1997" y="6827"/>
                    <a:pt x="2048" y="6776"/>
                    <a:pt x="2048" y="6713"/>
                  </a:cubicBezTo>
                  <a:lnTo>
                    <a:pt x="2048" y="6599"/>
                  </a:lnTo>
                  <a:lnTo>
                    <a:pt x="2389" y="6599"/>
                  </a:lnTo>
                  <a:lnTo>
                    <a:pt x="2389" y="6713"/>
                  </a:lnTo>
                  <a:cubicBezTo>
                    <a:pt x="2389" y="6776"/>
                    <a:pt x="2440" y="6827"/>
                    <a:pt x="2503" y="6827"/>
                  </a:cubicBezTo>
                  <a:cubicBezTo>
                    <a:pt x="2566" y="6827"/>
                    <a:pt x="2617" y="6776"/>
                    <a:pt x="2617" y="6713"/>
                  </a:cubicBezTo>
                  <a:lnTo>
                    <a:pt x="2617" y="6599"/>
                  </a:lnTo>
                  <a:lnTo>
                    <a:pt x="2958" y="6599"/>
                  </a:lnTo>
                  <a:lnTo>
                    <a:pt x="2958" y="6713"/>
                  </a:lnTo>
                  <a:cubicBezTo>
                    <a:pt x="2958" y="6776"/>
                    <a:pt x="3009" y="6827"/>
                    <a:pt x="3072" y="6827"/>
                  </a:cubicBezTo>
                  <a:cubicBezTo>
                    <a:pt x="3135" y="6827"/>
                    <a:pt x="3186" y="6776"/>
                    <a:pt x="3186" y="6713"/>
                  </a:cubicBezTo>
                  <a:lnTo>
                    <a:pt x="3186" y="6599"/>
                  </a:lnTo>
                  <a:lnTo>
                    <a:pt x="3527" y="6599"/>
                  </a:lnTo>
                  <a:lnTo>
                    <a:pt x="3527" y="6713"/>
                  </a:lnTo>
                  <a:cubicBezTo>
                    <a:pt x="3527" y="6776"/>
                    <a:pt x="3578" y="6827"/>
                    <a:pt x="3641" y="6827"/>
                  </a:cubicBezTo>
                  <a:cubicBezTo>
                    <a:pt x="3704" y="6827"/>
                    <a:pt x="3755" y="6776"/>
                    <a:pt x="3755" y="6713"/>
                  </a:cubicBezTo>
                  <a:lnTo>
                    <a:pt x="3755" y="6599"/>
                  </a:lnTo>
                  <a:lnTo>
                    <a:pt x="4096" y="6599"/>
                  </a:lnTo>
                  <a:lnTo>
                    <a:pt x="4096" y="6713"/>
                  </a:lnTo>
                  <a:cubicBezTo>
                    <a:pt x="4096" y="6776"/>
                    <a:pt x="4147" y="6827"/>
                    <a:pt x="4210" y="6827"/>
                  </a:cubicBezTo>
                  <a:cubicBezTo>
                    <a:pt x="4273" y="6827"/>
                    <a:pt x="4323" y="6776"/>
                    <a:pt x="4323" y="6713"/>
                  </a:cubicBezTo>
                  <a:lnTo>
                    <a:pt x="4323" y="6599"/>
                  </a:lnTo>
                  <a:lnTo>
                    <a:pt x="4665" y="6599"/>
                  </a:lnTo>
                  <a:lnTo>
                    <a:pt x="4665" y="6713"/>
                  </a:lnTo>
                  <a:cubicBezTo>
                    <a:pt x="4665" y="6776"/>
                    <a:pt x="4716" y="6827"/>
                    <a:pt x="4779" y="6827"/>
                  </a:cubicBezTo>
                  <a:cubicBezTo>
                    <a:pt x="4842" y="6827"/>
                    <a:pt x="4892" y="6776"/>
                    <a:pt x="4892" y="6713"/>
                  </a:cubicBezTo>
                  <a:lnTo>
                    <a:pt x="4892" y="6599"/>
                  </a:lnTo>
                  <a:lnTo>
                    <a:pt x="5234" y="6599"/>
                  </a:lnTo>
                  <a:lnTo>
                    <a:pt x="5234" y="6713"/>
                  </a:lnTo>
                  <a:cubicBezTo>
                    <a:pt x="5234" y="6776"/>
                    <a:pt x="5285" y="6827"/>
                    <a:pt x="5347" y="6827"/>
                  </a:cubicBezTo>
                  <a:cubicBezTo>
                    <a:pt x="5410" y="6827"/>
                    <a:pt x="5461" y="6776"/>
                    <a:pt x="5461" y="6713"/>
                  </a:cubicBezTo>
                  <a:lnTo>
                    <a:pt x="5461" y="6599"/>
                  </a:lnTo>
                  <a:lnTo>
                    <a:pt x="5803" y="6599"/>
                  </a:lnTo>
                  <a:lnTo>
                    <a:pt x="5803" y="6713"/>
                  </a:lnTo>
                  <a:cubicBezTo>
                    <a:pt x="5803" y="6776"/>
                    <a:pt x="5853" y="6827"/>
                    <a:pt x="5916" y="6827"/>
                  </a:cubicBezTo>
                  <a:cubicBezTo>
                    <a:pt x="5979" y="6827"/>
                    <a:pt x="6030" y="6776"/>
                    <a:pt x="6030" y="6713"/>
                  </a:cubicBezTo>
                  <a:lnTo>
                    <a:pt x="6030" y="6599"/>
                  </a:lnTo>
                  <a:lnTo>
                    <a:pt x="6371" y="6599"/>
                  </a:lnTo>
                  <a:lnTo>
                    <a:pt x="6371" y="6713"/>
                  </a:lnTo>
                  <a:cubicBezTo>
                    <a:pt x="6371" y="6776"/>
                    <a:pt x="6422" y="6827"/>
                    <a:pt x="6485" y="6827"/>
                  </a:cubicBezTo>
                  <a:cubicBezTo>
                    <a:pt x="6548" y="6827"/>
                    <a:pt x="6599" y="6776"/>
                    <a:pt x="6599" y="6713"/>
                  </a:cubicBezTo>
                  <a:lnTo>
                    <a:pt x="6599" y="6599"/>
                  </a:lnTo>
                  <a:lnTo>
                    <a:pt x="6713" y="6599"/>
                  </a:lnTo>
                  <a:cubicBezTo>
                    <a:pt x="6776" y="6599"/>
                    <a:pt x="6827" y="6548"/>
                    <a:pt x="6827" y="6485"/>
                  </a:cubicBezTo>
                  <a:cubicBezTo>
                    <a:pt x="6827" y="6422"/>
                    <a:pt x="6776" y="6372"/>
                    <a:pt x="6713" y="6372"/>
                  </a:cubicBezTo>
                  <a:lnTo>
                    <a:pt x="6599" y="6372"/>
                  </a:lnTo>
                  <a:lnTo>
                    <a:pt x="6599" y="6258"/>
                  </a:lnTo>
                  <a:cubicBezTo>
                    <a:pt x="6599" y="6195"/>
                    <a:pt x="6548" y="6144"/>
                    <a:pt x="6485" y="6144"/>
                  </a:cubicBezTo>
                  <a:cubicBezTo>
                    <a:pt x="6422" y="6144"/>
                    <a:pt x="6371" y="6195"/>
                    <a:pt x="6371" y="6258"/>
                  </a:cubicBezTo>
                  <a:lnTo>
                    <a:pt x="6371" y="6372"/>
                  </a:lnTo>
                  <a:lnTo>
                    <a:pt x="6030" y="6372"/>
                  </a:lnTo>
                  <a:lnTo>
                    <a:pt x="6030" y="6258"/>
                  </a:lnTo>
                  <a:cubicBezTo>
                    <a:pt x="6030" y="6195"/>
                    <a:pt x="5979" y="6144"/>
                    <a:pt x="5916" y="6144"/>
                  </a:cubicBezTo>
                  <a:cubicBezTo>
                    <a:pt x="5853" y="6144"/>
                    <a:pt x="5803" y="6195"/>
                    <a:pt x="5803" y="6258"/>
                  </a:cubicBezTo>
                  <a:lnTo>
                    <a:pt x="5803" y="6372"/>
                  </a:lnTo>
                  <a:lnTo>
                    <a:pt x="5461" y="6372"/>
                  </a:lnTo>
                  <a:lnTo>
                    <a:pt x="5461" y="6258"/>
                  </a:lnTo>
                  <a:cubicBezTo>
                    <a:pt x="5461" y="6195"/>
                    <a:pt x="5410" y="6144"/>
                    <a:pt x="5347" y="6144"/>
                  </a:cubicBezTo>
                  <a:cubicBezTo>
                    <a:pt x="5285" y="6144"/>
                    <a:pt x="5234" y="6195"/>
                    <a:pt x="5234" y="6258"/>
                  </a:cubicBezTo>
                  <a:lnTo>
                    <a:pt x="5234" y="6372"/>
                  </a:lnTo>
                  <a:lnTo>
                    <a:pt x="4892" y="6372"/>
                  </a:lnTo>
                  <a:lnTo>
                    <a:pt x="4892" y="6258"/>
                  </a:lnTo>
                  <a:cubicBezTo>
                    <a:pt x="4892" y="6195"/>
                    <a:pt x="4842" y="6144"/>
                    <a:pt x="4779" y="6144"/>
                  </a:cubicBezTo>
                  <a:cubicBezTo>
                    <a:pt x="4716" y="6144"/>
                    <a:pt x="4665" y="6195"/>
                    <a:pt x="4665" y="6258"/>
                  </a:cubicBezTo>
                  <a:lnTo>
                    <a:pt x="4665" y="6372"/>
                  </a:lnTo>
                  <a:lnTo>
                    <a:pt x="4323" y="6372"/>
                  </a:lnTo>
                  <a:lnTo>
                    <a:pt x="4323" y="6258"/>
                  </a:lnTo>
                  <a:cubicBezTo>
                    <a:pt x="4323" y="6195"/>
                    <a:pt x="4273" y="6144"/>
                    <a:pt x="4210" y="6144"/>
                  </a:cubicBezTo>
                  <a:cubicBezTo>
                    <a:pt x="4147" y="6144"/>
                    <a:pt x="4096" y="6195"/>
                    <a:pt x="4096" y="6258"/>
                  </a:cubicBezTo>
                  <a:lnTo>
                    <a:pt x="4096" y="6372"/>
                  </a:lnTo>
                  <a:lnTo>
                    <a:pt x="3755" y="6372"/>
                  </a:lnTo>
                  <a:lnTo>
                    <a:pt x="3755" y="6258"/>
                  </a:lnTo>
                  <a:cubicBezTo>
                    <a:pt x="3755" y="6195"/>
                    <a:pt x="3704" y="6144"/>
                    <a:pt x="3641" y="6144"/>
                  </a:cubicBezTo>
                  <a:cubicBezTo>
                    <a:pt x="3578" y="6144"/>
                    <a:pt x="3527" y="6195"/>
                    <a:pt x="3527" y="6258"/>
                  </a:cubicBezTo>
                  <a:lnTo>
                    <a:pt x="3527" y="6372"/>
                  </a:lnTo>
                  <a:lnTo>
                    <a:pt x="3186" y="6372"/>
                  </a:lnTo>
                  <a:lnTo>
                    <a:pt x="3186" y="6258"/>
                  </a:lnTo>
                  <a:cubicBezTo>
                    <a:pt x="3186" y="6195"/>
                    <a:pt x="3135" y="6144"/>
                    <a:pt x="3072" y="6144"/>
                  </a:cubicBezTo>
                  <a:cubicBezTo>
                    <a:pt x="3009" y="6144"/>
                    <a:pt x="2958" y="6195"/>
                    <a:pt x="2958" y="6258"/>
                  </a:cubicBezTo>
                  <a:lnTo>
                    <a:pt x="2958" y="6372"/>
                  </a:lnTo>
                  <a:lnTo>
                    <a:pt x="2617" y="6372"/>
                  </a:lnTo>
                  <a:lnTo>
                    <a:pt x="2617" y="6258"/>
                  </a:lnTo>
                  <a:cubicBezTo>
                    <a:pt x="2617" y="6195"/>
                    <a:pt x="2566" y="6144"/>
                    <a:pt x="2503" y="6144"/>
                  </a:cubicBezTo>
                  <a:cubicBezTo>
                    <a:pt x="2440" y="6144"/>
                    <a:pt x="2389" y="6195"/>
                    <a:pt x="2389" y="6258"/>
                  </a:cubicBezTo>
                  <a:lnTo>
                    <a:pt x="2389" y="6372"/>
                  </a:lnTo>
                  <a:lnTo>
                    <a:pt x="2048" y="6372"/>
                  </a:lnTo>
                  <a:lnTo>
                    <a:pt x="2048" y="6258"/>
                  </a:lnTo>
                  <a:cubicBezTo>
                    <a:pt x="2048" y="6195"/>
                    <a:pt x="1997" y="6144"/>
                    <a:pt x="1934" y="6144"/>
                  </a:cubicBezTo>
                  <a:cubicBezTo>
                    <a:pt x="1871" y="6144"/>
                    <a:pt x="1820" y="6195"/>
                    <a:pt x="1820" y="6258"/>
                  </a:cubicBezTo>
                  <a:lnTo>
                    <a:pt x="1820" y="6372"/>
                  </a:lnTo>
                  <a:lnTo>
                    <a:pt x="1479" y="6372"/>
                  </a:lnTo>
                  <a:lnTo>
                    <a:pt x="1479" y="6258"/>
                  </a:lnTo>
                  <a:cubicBezTo>
                    <a:pt x="1479" y="6195"/>
                    <a:pt x="1428" y="6144"/>
                    <a:pt x="1365" y="6144"/>
                  </a:cubicBezTo>
                  <a:cubicBezTo>
                    <a:pt x="1302" y="6144"/>
                    <a:pt x="1252" y="6195"/>
                    <a:pt x="1252" y="6258"/>
                  </a:cubicBezTo>
                  <a:lnTo>
                    <a:pt x="1252" y="6372"/>
                  </a:lnTo>
                  <a:lnTo>
                    <a:pt x="910" y="6372"/>
                  </a:lnTo>
                  <a:lnTo>
                    <a:pt x="910" y="6258"/>
                  </a:lnTo>
                  <a:cubicBezTo>
                    <a:pt x="910" y="6195"/>
                    <a:pt x="859" y="6144"/>
                    <a:pt x="796" y="6144"/>
                  </a:cubicBezTo>
                  <a:cubicBezTo>
                    <a:pt x="734" y="6144"/>
                    <a:pt x="683" y="6195"/>
                    <a:pt x="683" y="6258"/>
                  </a:cubicBezTo>
                  <a:lnTo>
                    <a:pt x="683" y="6372"/>
                  </a:lnTo>
                  <a:lnTo>
                    <a:pt x="455" y="6372"/>
                  </a:lnTo>
                  <a:lnTo>
                    <a:pt x="455" y="5234"/>
                  </a:lnTo>
                  <a:lnTo>
                    <a:pt x="1263" y="52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8651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-152241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name="think-cell Slide" r:id="rId6" imgW="9525" imgH="9525" progId="">
                  <p:embed/>
                </p:oleObj>
              </mc:Choice>
              <mc:Fallback>
                <p:oleObj name="think-cell Slide" r:id="rId6" imgW="9525" imgH="9525" progId="">
                  <p:embed/>
                  <p:pic>
                    <p:nvPicPr>
                      <p:cNvPr id="0" name="对象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E53C8D42-9D82-4E9C-973A-2854B855D24A}"/>
              </a:ext>
            </a:extLst>
          </p:cNvPr>
          <p:cNvSpPr txBox="1"/>
          <p:nvPr/>
        </p:nvSpPr>
        <p:spPr>
          <a:xfrm>
            <a:off x="1071953" y="152481"/>
            <a:ext cx="60652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无人机竞速市场规模</a:t>
            </a:r>
          </a:p>
        </p:txBody>
      </p:sp>
      <p:grpSp>
        <p:nvGrpSpPr>
          <p:cNvPr id="88" name="组合 87">
            <a:extLst>
              <a:ext uri="{FF2B5EF4-FFF2-40B4-BE49-F238E27FC236}">
                <a16:creationId xmlns:a16="http://schemas.microsoft.com/office/drawing/2014/main" id="{C8ADEB21-4049-4559-ADFA-D7DCC0C0352F}"/>
              </a:ext>
            </a:extLst>
          </p:cNvPr>
          <p:cNvGrpSpPr/>
          <p:nvPr/>
        </p:nvGrpSpPr>
        <p:grpSpPr>
          <a:xfrm>
            <a:off x="289749" y="147291"/>
            <a:ext cx="712800" cy="712800"/>
            <a:chOff x="8016509" y="3824986"/>
            <a:chExt cx="1291814" cy="1291814"/>
          </a:xfrm>
        </p:grpSpPr>
        <p:sp>
          <p:nvSpPr>
            <p:cNvPr id="89" name="椭圆 88">
              <a:extLst>
                <a:ext uri="{FF2B5EF4-FFF2-40B4-BE49-F238E27FC236}">
                  <a16:creationId xmlns:a16="http://schemas.microsoft.com/office/drawing/2014/main" id="{1978526E-EA95-4798-BEE2-7E2A54754967}"/>
                </a:ext>
              </a:extLst>
            </p:cNvPr>
            <p:cNvSpPr/>
            <p:nvPr/>
          </p:nvSpPr>
          <p:spPr>
            <a:xfrm>
              <a:off x="8156448" y="3957739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90" name="空心弧 89">
              <a:extLst>
                <a:ext uri="{FF2B5EF4-FFF2-40B4-BE49-F238E27FC236}">
                  <a16:creationId xmlns:a16="http://schemas.microsoft.com/office/drawing/2014/main" id="{BD55614C-54B4-43BA-AAC4-79FE142F7635}"/>
                </a:ext>
              </a:extLst>
            </p:cNvPr>
            <p:cNvSpPr/>
            <p:nvPr/>
          </p:nvSpPr>
          <p:spPr>
            <a:xfrm rot="10610290">
              <a:off x="8016509" y="3824986"/>
              <a:ext cx="1291814" cy="1291814"/>
            </a:xfrm>
            <a:prstGeom prst="blockArc">
              <a:avLst>
                <a:gd name="adj1" fmla="val 7518296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2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91" name="analytics_230928">
              <a:extLst>
                <a:ext uri="{FF2B5EF4-FFF2-40B4-BE49-F238E27FC236}">
                  <a16:creationId xmlns:a16="http://schemas.microsoft.com/office/drawing/2014/main" id="{5C9A0C3B-184D-4E15-B5F1-A21480A0F2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34859" y="4217950"/>
              <a:ext cx="525184" cy="524389"/>
            </a:xfrm>
            <a:custGeom>
              <a:avLst/>
              <a:gdLst>
                <a:gd name="T0" fmla="*/ 4096 w 6827"/>
                <a:gd name="T1" fmla="*/ 4551 h 6827"/>
                <a:gd name="T2" fmla="*/ 6258 w 6827"/>
                <a:gd name="T3" fmla="*/ 4096 h 6827"/>
                <a:gd name="T4" fmla="*/ 2348 w 6827"/>
                <a:gd name="T5" fmla="*/ 4911 h 6827"/>
                <a:gd name="T6" fmla="*/ 569 w 6827"/>
                <a:gd name="T7" fmla="*/ 4551 h 6827"/>
                <a:gd name="T8" fmla="*/ 569 w 6827"/>
                <a:gd name="T9" fmla="*/ 3982 h 6827"/>
                <a:gd name="T10" fmla="*/ 1707 w 6827"/>
                <a:gd name="T11" fmla="*/ 2503 h 6827"/>
                <a:gd name="T12" fmla="*/ 3868 w 6827"/>
                <a:gd name="T13" fmla="*/ 2731 h 6827"/>
                <a:gd name="T14" fmla="*/ 5827 w 6827"/>
                <a:gd name="T15" fmla="*/ 2004 h 6827"/>
                <a:gd name="T16" fmla="*/ 6258 w 6827"/>
                <a:gd name="T17" fmla="*/ 1820 h 6827"/>
                <a:gd name="T18" fmla="*/ 4779 w 6827"/>
                <a:gd name="T19" fmla="*/ 0 h 6827"/>
                <a:gd name="T20" fmla="*/ 2854 w 6827"/>
                <a:gd name="T21" fmla="*/ 2381 h 6827"/>
                <a:gd name="T22" fmla="*/ 1239 w 6827"/>
                <a:gd name="T23" fmla="*/ 2257 h 6827"/>
                <a:gd name="T24" fmla="*/ 569 w 6827"/>
                <a:gd name="T25" fmla="*/ 2844 h 6827"/>
                <a:gd name="T26" fmla="*/ 569 w 6827"/>
                <a:gd name="T27" fmla="*/ 2276 h 6827"/>
                <a:gd name="T28" fmla="*/ 569 w 6827"/>
                <a:gd name="T29" fmla="*/ 1707 h 6827"/>
                <a:gd name="T30" fmla="*/ 569 w 6827"/>
                <a:gd name="T31" fmla="*/ 1138 h 6827"/>
                <a:gd name="T32" fmla="*/ 569 w 6827"/>
                <a:gd name="T33" fmla="*/ 569 h 6827"/>
                <a:gd name="T34" fmla="*/ 341 w 6827"/>
                <a:gd name="T35" fmla="*/ 0 h 6827"/>
                <a:gd name="T36" fmla="*/ 114 w 6827"/>
                <a:gd name="T37" fmla="*/ 569 h 6827"/>
                <a:gd name="T38" fmla="*/ 114 w 6827"/>
                <a:gd name="T39" fmla="*/ 1138 h 6827"/>
                <a:gd name="T40" fmla="*/ 114 w 6827"/>
                <a:gd name="T41" fmla="*/ 1707 h 6827"/>
                <a:gd name="T42" fmla="*/ 114 w 6827"/>
                <a:gd name="T43" fmla="*/ 2276 h 6827"/>
                <a:gd name="T44" fmla="*/ 114 w 6827"/>
                <a:gd name="T45" fmla="*/ 2844 h 6827"/>
                <a:gd name="T46" fmla="*/ 114 w 6827"/>
                <a:gd name="T47" fmla="*/ 3413 h 6827"/>
                <a:gd name="T48" fmla="*/ 114 w 6827"/>
                <a:gd name="T49" fmla="*/ 3982 h 6827"/>
                <a:gd name="T50" fmla="*/ 114 w 6827"/>
                <a:gd name="T51" fmla="*/ 4551 h 6827"/>
                <a:gd name="T52" fmla="*/ 114 w 6827"/>
                <a:gd name="T53" fmla="*/ 5120 h 6827"/>
                <a:gd name="T54" fmla="*/ 114 w 6827"/>
                <a:gd name="T55" fmla="*/ 5689 h 6827"/>
                <a:gd name="T56" fmla="*/ 114 w 6827"/>
                <a:gd name="T57" fmla="*/ 6258 h 6827"/>
                <a:gd name="T58" fmla="*/ 683 w 6827"/>
                <a:gd name="T59" fmla="*/ 6713 h 6827"/>
                <a:gd name="T60" fmla="*/ 1252 w 6827"/>
                <a:gd name="T61" fmla="*/ 6713 h 6827"/>
                <a:gd name="T62" fmla="*/ 1820 w 6827"/>
                <a:gd name="T63" fmla="*/ 6713 h 6827"/>
                <a:gd name="T64" fmla="*/ 2389 w 6827"/>
                <a:gd name="T65" fmla="*/ 6713 h 6827"/>
                <a:gd name="T66" fmla="*/ 2958 w 6827"/>
                <a:gd name="T67" fmla="*/ 6713 h 6827"/>
                <a:gd name="T68" fmla="*/ 3527 w 6827"/>
                <a:gd name="T69" fmla="*/ 6713 h 6827"/>
                <a:gd name="T70" fmla="*/ 4096 w 6827"/>
                <a:gd name="T71" fmla="*/ 6713 h 6827"/>
                <a:gd name="T72" fmla="*/ 4665 w 6827"/>
                <a:gd name="T73" fmla="*/ 6713 h 6827"/>
                <a:gd name="T74" fmla="*/ 5234 w 6827"/>
                <a:gd name="T75" fmla="*/ 6713 h 6827"/>
                <a:gd name="T76" fmla="*/ 5803 w 6827"/>
                <a:gd name="T77" fmla="*/ 6713 h 6827"/>
                <a:gd name="T78" fmla="*/ 6371 w 6827"/>
                <a:gd name="T79" fmla="*/ 6713 h 6827"/>
                <a:gd name="T80" fmla="*/ 6827 w 6827"/>
                <a:gd name="T81" fmla="*/ 6485 h 6827"/>
                <a:gd name="T82" fmla="*/ 6371 w 6827"/>
                <a:gd name="T83" fmla="*/ 6258 h 6827"/>
                <a:gd name="T84" fmla="*/ 5803 w 6827"/>
                <a:gd name="T85" fmla="*/ 6258 h 6827"/>
                <a:gd name="T86" fmla="*/ 5234 w 6827"/>
                <a:gd name="T87" fmla="*/ 6258 h 6827"/>
                <a:gd name="T88" fmla="*/ 4665 w 6827"/>
                <a:gd name="T89" fmla="*/ 6258 h 6827"/>
                <a:gd name="T90" fmla="*/ 4096 w 6827"/>
                <a:gd name="T91" fmla="*/ 6258 h 6827"/>
                <a:gd name="T92" fmla="*/ 3527 w 6827"/>
                <a:gd name="T93" fmla="*/ 6258 h 6827"/>
                <a:gd name="T94" fmla="*/ 2958 w 6827"/>
                <a:gd name="T95" fmla="*/ 6258 h 6827"/>
                <a:gd name="T96" fmla="*/ 2389 w 6827"/>
                <a:gd name="T97" fmla="*/ 6258 h 6827"/>
                <a:gd name="T98" fmla="*/ 1820 w 6827"/>
                <a:gd name="T99" fmla="*/ 6258 h 6827"/>
                <a:gd name="T100" fmla="*/ 1252 w 6827"/>
                <a:gd name="T101" fmla="*/ 6258 h 6827"/>
                <a:gd name="T102" fmla="*/ 683 w 6827"/>
                <a:gd name="T103" fmla="*/ 6258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826" h="6826">
                  <a:moveTo>
                    <a:pt x="1263" y="5234"/>
                  </a:moveTo>
                  <a:cubicBezTo>
                    <a:pt x="1316" y="5493"/>
                    <a:pt x="1546" y="5689"/>
                    <a:pt x="1820" y="5689"/>
                  </a:cubicBezTo>
                  <a:cubicBezTo>
                    <a:pt x="2114" y="5689"/>
                    <a:pt x="2354" y="5464"/>
                    <a:pt x="2383" y="5178"/>
                  </a:cubicBezTo>
                  <a:lnTo>
                    <a:pt x="3568" y="4191"/>
                  </a:lnTo>
                  <a:cubicBezTo>
                    <a:pt x="3652" y="4401"/>
                    <a:pt x="3856" y="4551"/>
                    <a:pt x="4096" y="4551"/>
                  </a:cubicBezTo>
                  <a:cubicBezTo>
                    <a:pt x="4348" y="4551"/>
                    <a:pt x="4560" y="4385"/>
                    <a:pt x="4635" y="4157"/>
                  </a:cubicBezTo>
                  <a:lnTo>
                    <a:pt x="5696" y="4736"/>
                  </a:lnTo>
                  <a:cubicBezTo>
                    <a:pt x="5732" y="5016"/>
                    <a:pt x="5969" y="5234"/>
                    <a:pt x="6258" y="5234"/>
                  </a:cubicBezTo>
                  <a:cubicBezTo>
                    <a:pt x="6571" y="5234"/>
                    <a:pt x="6827" y="4979"/>
                    <a:pt x="6827" y="4665"/>
                  </a:cubicBezTo>
                  <a:cubicBezTo>
                    <a:pt x="6827" y="4351"/>
                    <a:pt x="6571" y="4096"/>
                    <a:pt x="6258" y="4096"/>
                  </a:cubicBezTo>
                  <a:cubicBezTo>
                    <a:pt x="6006" y="4096"/>
                    <a:pt x="5794" y="4262"/>
                    <a:pt x="5719" y="4490"/>
                  </a:cubicBezTo>
                  <a:lnTo>
                    <a:pt x="4658" y="3911"/>
                  </a:lnTo>
                  <a:cubicBezTo>
                    <a:pt x="4622" y="3631"/>
                    <a:pt x="4385" y="3413"/>
                    <a:pt x="4096" y="3413"/>
                  </a:cubicBezTo>
                  <a:cubicBezTo>
                    <a:pt x="3802" y="3413"/>
                    <a:pt x="3563" y="3638"/>
                    <a:pt x="3533" y="3924"/>
                  </a:cubicBezTo>
                  <a:lnTo>
                    <a:pt x="2348" y="4911"/>
                  </a:lnTo>
                  <a:cubicBezTo>
                    <a:pt x="2265" y="4701"/>
                    <a:pt x="2060" y="4551"/>
                    <a:pt x="1820" y="4551"/>
                  </a:cubicBezTo>
                  <a:cubicBezTo>
                    <a:pt x="1546" y="4551"/>
                    <a:pt x="1316" y="4747"/>
                    <a:pt x="1263" y="5006"/>
                  </a:cubicBezTo>
                  <a:lnTo>
                    <a:pt x="455" y="5006"/>
                  </a:lnTo>
                  <a:lnTo>
                    <a:pt x="455" y="4551"/>
                  </a:lnTo>
                  <a:lnTo>
                    <a:pt x="569" y="4551"/>
                  </a:lnTo>
                  <a:cubicBezTo>
                    <a:pt x="632" y="4551"/>
                    <a:pt x="683" y="4500"/>
                    <a:pt x="683" y="4437"/>
                  </a:cubicBezTo>
                  <a:cubicBezTo>
                    <a:pt x="683" y="4374"/>
                    <a:pt x="632" y="4324"/>
                    <a:pt x="569" y="4324"/>
                  </a:cubicBezTo>
                  <a:lnTo>
                    <a:pt x="455" y="4324"/>
                  </a:lnTo>
                  <a:lnTo>
                    <a:pt x="455" y="3982"/>
                  </a:lnTo>
                  <a:lnTo>
                    <a:pt x="569" y="3982"/>
                  </a:lnTo>
                  <a:cubicBezTo>
                    <a:pt x="632" y="3982"/>
                    <a:pt x="683" y="3931"/>
                    <a:pt x="683" y="3868"/>
                  </a:cubicBezTo>
                  <a:cubicBezTo>
                    <a:pt x="683" y="3806"/>
                    <a:pt x="632" y="3755"/>
                    <a:pt x="569" y="3755"/>
                  </a:cubicBezTo>
                  <a:lnTo>
                    <a:pt x="480" y="3755"/>
                  </a:lnTo>
                  <a:lnTo>
                    <a:pt x="1407" y="2416"/>
                  </a:lnTo>
                  <a:cubicBezTo>
                    <a:pt x="1494" y="2470"/>
                    <a:pt x="1596" y="2503"/>
                    <a:pt x="1707" y="2503"/>
                  </a:cubicBezTo>
                  <a:cubicBezTo>
                    <a:pt x="1888" y="2503"/>
                    <a:pt x="2048" y="2416"/>
                    <a:pt x="2152" y="2284"/>
                  </a:cubicBezTo>
                  <a:lnTo>
                    <a:pt x="2752" y="2584"/>
                  </a:lnTo>
                  <a:cubicBezTo>
                    <a:pt x="2740" y="2631"/>
                    <a:pt x="2731" y="2680"/>
                    <a:pt x="2731" y="2731"/>
                  </a:cubicBezTo>
                  <a:cubicBezTo>
                    <a:pt x="2731" y="3044"/>
                    <a:pt x="2986" y="3300"/>
                    <a:pt x="3300" y="3300"/>
                  </a:cubicBezTo>
                  <a:cubicBezTo>
                    <a:pt x="3613" y="3300"/>
                    <a:pt x="3868" y="3044"/>
                    <a:pt x="3868" y="2731"/>
                  </a:cubicBezTo>
                  <a:cubicBezTo>
                    <a:pt x="3868" y="2608"/>
                    <a:pt x="3829" y="2496"/>
                    <a:pt x="3763" y="2403"/>
                  </a:cubicBezTo>
                  <a:lnTo>
                    <a:pt x="4488" y="1055"/>
                  </a:lnTo>
                  <a:cubicBezTo>
                    <a:pt x="4574" y="1107"/>
                    <a:pt x="4672" y="1138"/>
                    <a:pt x="4779" y="1138"/>
                  </a:cubicBezTo>
                  <a:cubicBezTo>
                    <a:pt x="4891" y="1138"/>
                    <a:pt x="4995" y="1104"/>
                    <a:pt x="5083" y="1048"/>
                  </a:cubicBezTo>
                  <a:lnTo>
                    <a:pt x="5827" y="2004"/>
                  </a:lnTo>
                  <a:cubicBezTo>
                    <a:pt x="5829" y="2007"/>
                    <a:pt x="5833" y="2009"/>
                    <a:pt x="5836" y="2011"/>
                  </a:cubicBezTo>
                  <a:cubicBezTo>
                    <a:pt x="5745" y="2112"/>
                    <a:pt x="5689" y="2244"/>
                    <a:pt x="5689" y="2389"/>
                  </a:cubicBezTo>
                  <a:cubicBezTo>
                    <a:pt x="5689" y="2703"/>
                    <a:pt x="5944" y="2958"/>
                    <a:pt x="6258" y="2958"/>
                  </a:cubicBezTo>
                  <a:cubicBezTo>
                    <a:pt x="6571" y="2958"/>
                    <a:pt x="6827" y="2703"/>
                    <a:pt x="6827" y="2389"/>
                  </a:cubicBezTo>
                  <a:cubicBezTo>
                    <a:pt x="6827" y="2076"/>
                    <a:pt x="6571" y="1820"/>
                    <a:pt x="6258" y="1820"/>
                  </a:cubicBezTo>
                  <a:cubicBezTo>
                    <a:pt x="6170" y="1820"/>
                    <a:pt x="6087" y="1842"/>
                    <a:pt x="6013" y="1878"/>
                  </a:cubicBezTo>
                  <a:cubicBezTo>
                    <a:pt x="6010" y="1874"/>
                    <a:pt x="6010" y="1869"/>
                    <a:pt x="6006" y="1864"/>
                  </a:cubicBezTo>
                  <a:lnTo>
                    <a:pt x="5248" y="890"/>
                  </a:lnTo>
                  <a:cubicBezTo>
                    <a:pt x="5311" y="798"/>
                    <a:pt x="5348" y="688"/>
                    <a:pt x="5348" y="569"/>
                  </a:cubicBezTo>
                  <a:cubicBezTo>
                    <a:pt x="5348" y="255"/>
                    <a:pt x="5092" y="0"/>
                    <a:pt x="4779" y="0"/>
                  </a:cubicBezTo>
                  <a:cubicBezTo>
                    <a:pt x="4465" y="0"/>
                    <a:pt x="4210" y="255"/>
                    <a:pt x="4210" y="569"/>
                  </a:cubicBezTo>
                  <a:cubicBezTo>
                    <a:pt x="4210" y="691"/>
                    <a:pt x="4249" y="804"/>
                    <a:pt x="4315" y="897"/>
                  </a:cubicBezTo>
                  <a:lnTo>
                    <a:pt x="3590" y="2244"/>
                  </a:lnTo>
                  <a:cubicBezTo>
                    <a:pt x="3505" y="2193"/>
                    <a:pt x="3406" y="2162"/>
                    <a:pt x="3300" y="2162"/>
                  </a:cubicBezTo>
                  <a:cubicBezTo>
                    <a:pt x="3118" y="2162"/>
                    <a:pt x="2959" y="2248"/>
                    <a:pt x="2854" y="2381"/>
                  </a:cubicBezTo>
                  <a:lnTo>
                    <a:pt x="2254" y="2081"/>
                  </a:lnTo>
                  <a:cubicBezTo>
                    <a:pt x="2267" y="2034"/>
                    <a:pt x="2276" y="1985"/>
                    <a:pt x="2276" y="1934"/>
                  </a:cubicBezTo>
                  <a:cubicBezTo>
                    <a:pt x="2276" y="1621"/>
                    <a:pt x="2020" y="1365"/>
                    <a:pt x="1707" y="1365"/>
                  </a:cubicBezTo>
                  <a:cubicBezTo>
                    <a:pt x="1393" y="1365"/>
                    <a:pt x="1138" y="1621"/>
                    <a:pt x="1138" y="1934"/>
                  </a:cubicBezTo>
                  <a:cubicBezTo>
                    <a:pt x="1138" y="2054"/>
                    <a:pt x="1176" y="2166"/>
                    <a:pt x="1239" y="2257"/>
                  </a:cubicBezTo>
                  <a:lnTo>
                    <a:pt x="593" y="3191"/>
                  </a:lnTo>
                  <a:cubicBezTo>
                    <a:pt x="585" y="3189"/>
                    <a:pt x="578" y="3186"/>
                    <a:pt x="569" y="3186"/>
                  </a:cubicBezTo>
                  <a:lnTo>
                    <a:pt x="455" y="3186"/>
                  </a:lnTo>
                  <a:lnTo>
                    <a:pt x="455" y="2844"/>
                  </a:lnTo>
                  <a:lnTo>
                    <a:pt x="569" y="2844"/>
                  </a:lnTo>
                  <a:cubicBezTo>
                    <a:pt x="632" y="2844"/>
                    <a:pt x="683" y="2794"/>
                    <a:pt x="683" y="2731"/>
                  </a:cubicBezTo>
                  <a:cubicBezTo>
                    <a:pt x="683" y="2668"/>
                    <a:pt x="632" y="2617"/>
                    <a:pt x="569" y="2617"/>
                  </a:cubicBezTo>
                  <a:lnTo>
                    <a:pt x="455" y="2617"/>
                  </a:lnTo>
                  <a:lnTo>
                    <a:pt x="455" y="2276"/>
                  </a:lnTo>
                  <a:lnTo>
                    <a:pt x="569" y="2276"/>
                  </a:lnTo>
                  <a:cubicBezTo>
                    <a:pt x="632" y="2276"/>
                    <a:pt x="683" y="2225"/>
                    <a:pt x="683" y="2162"/>
                  </a:cubicBezTo>
                  <a:cubicBezTo>
                    <a:pt x="683" y="2099"/>
                    <a:pt x="632" y="2048"/>
                    <a:pt x="569" y="2048"/>
                  </a:cubicBezTo>
                  <a:lnTo>
                    <a:pt x="455" y="2048"/>
                  </a:lnTo>
                  <a:lnTo>
                    <a:pt x="455" y="1707"/>
                  </a:lnTo>
                  <a:lnTo>
                    <a:pt x="569" y="1707"/>
                  </a:lnTo>
                  <a:cubicBezTo>
                    <a:pt x="632" y="1707"/>
                    <a:pt x="683" y="1656"/>
                    <a:pt x="683" y="1593"/>
                  </a:cubicBezTo>
                  <a:cubicBezTo>
                    <a:pt x="683" y="1530"/>
                    <a:pt x="632" y="1479"/>
                    <a:pt x="569" y="1479"/>
                  </a:cubicBezTo>
                  <a:lnTo>
                    <a:pt x="455" y="1479"/>
                  </a:lnTo>
                  <a:lnTo>
                    <a:pt x="455" y="1138"/>
                  </a:lnTo>
                  <a:lnTo>
                    <a:pt x="569" y="1138"/>
                  </a:lnTo>
                  <a:cubicBezTo>
                    <a:pt x="632" y="1138"/>
                    <a:pt x="683" y="1087"/>
                    <a:pt x="683" y="1024"/>
                  </a:cubicBezTo>
                  <a:cubicBezTo>
                    <a:pt x="683" y="961"/>
                    <a:pt x="632" y="910"/>
                    <a:pt x="569" y="910"/>
                  </a:cubicBezTo>
                  <a:lnTo>
                    <a:pt x="455" y="910"/>
                  </a:lnTo>
                  <a:lnTo>
                    <a:pt x="455" y="569"/>
                  </a:lnTo>
                  <a:lnTo>
                    <a:pt x="569" y="569"/>
                  </a:lnTo>
                  <a:cubicBezTo>
                    <a:pt x="632" y="569"/>
                    <a:pt x="683" y="518"/>
                    <a:pt x="683" y="455"/>
                  </a:cubicBezTo>
                  <a:cubicBezTo>
                    <a:pt x="683" y="392"/>
                    <a:pt x="632" y="341"/>
                    <a:pt x="569" y="341"/>
                  </a:cubicBezTo>
                  <a:lnTo>
                    <a:pt x="455" y="341"/>
                  </a:lnTo>
                  <a:lnTo>
                    <a:pt x="455" y="114"/>
                  </a:lnTo>
                  <a:cubicBezTo>
                    <a:pt x="455" y="51"/>
                    <a:pt x="404" y="0"/>
                    <a:pt x="341" y="0"/>
                  </a:cubicBezTo>
                  <a:cubicBezTo>
                    <a:pt x="278" y="0"/>
                    <a:pt x="228" y="51"/>
                    <a:pt x="228" y="114"/>
                  </a:cubicBezTo>
                  <a:lnTo>
                    <a:pt x="228" y="341"/>
                  </a:lnTo>
                  <a:lnTo>
                    <a:pt x="114" y="341"/>
                  </a:lnTo>
                  <a:cubicBezTo>
                    <a:pt x="51" y="341"/>
                    <a:pt x="0" y="392"/>
                    <a:pt x="0" y="455"/>
                  </a:cubicBezTo>
                  <a:cubicBezTo>
                    <a:pt x="0" y="518"/>
                    <a:pt x="51" y="569"/>
                    <a:pt x="114" y="569"/>
                  </a:cubicBezTo>
                  <a:lnTo>
                    <a:pt x="228" y="569"/>
                  </a:lnTo>
                  <a:lnTo>
                    <a:pt x="228" y="910"/>
                  </a:lnTo>
                  <a:lnTo>
                    <a:pt x="114" y="910"/>
                  </a:lnTo>
                  <a:cubicBezTo>
                    <a:pt x="51" y="910"/>
                    <a:pt x="0" y="961"/>
                    <a:pt x="0" y="1024"/>
                  </a:cubicBezTo>
                  <a:cubicBezTo>
                    <a:pt x="0" y="1087"/>
                    <a:pt x="51" y="1138"/>
                    <a:pt x="114" y="1138"/>
                  </a:cubicBezTo>
                  <a:lnTo>
                    <a:pt x="228" y="1138"/>
                  </a:lnTo>
                  <a:lnTo>
                    <a:pt x="228" y="1479"/>
                  </a:lnTo>
                  <a:lnTo>
                    <a:pt x="114" y="1479"/>
                  </a:lnTo>
                  <a:cubicBezTo>
                    <a:pt x="51" y="1479"/>
                    <a:pt x="0" y="1530"/>
                    <a:pt x="0" y="1593"/>
                  </a:cubicBezTo>
                  <a:cubicBezTo>
                    <a:pt x="0" y="1656"/>
                    <a:pt x="51" y="1707"/>
                    <a:pt x="114" y="1707"/>
                  </a:cubicBezTo>
                  <a:lnTo>
                    <a:pt x="228" y="1707"/>
                  </a:lnTo>
                  <a:lnTo>
                    <a:pt x="228" y="2048"/>
                  </a:lnTo>
                  <a:lnTo>
                    <a:pt x="114" y="2048"/>
                  </a:lnTo>
                  <a:cubicBezTo>
                    <a:pt x="51" y="2048"/>
                    <a:pt x="0" y="2099"/>
                    <a:pt x="0" y="2162"/>
                  </a:cubicBezTo>
                  <a:cubicBezTo>
                    <a:pt x="0" y="2225"/>
                    <a:pt x="51" y="2276"/>
                    <a:pt x="114" y="2276"/>
                  </a:cubicBezTo>
                  <a:lnTo>
                    <a:pt x="228" y="2276"/>
                  </a:lnTo>
                  <a:lnTo>
                    <a:pt x="228" y="2617"/>
                  </a:lnTo>
                  <a:lnTo>
                    <a:pt x="114" y="2617"/>
                  </a:lnTo>
                  <a:cubicBezTo>
                    <a:pt x="51" y="2617"/>
                    <a:pt x="0" y="2668"/>
                    <a:pt x="0" y="2731"/>
                  </a:cubicBezTo>
                  <a:cubicBezTo>
                    <a:pt x="0" y="2794"/>
                    <a:pt x="51" y="2844"/>
                    <a:pt x="114" y="2844"/>
                  </a:cubicBezTo>
                  <a:lnTo>
                    <a:pt x="228" y="2844"/>
                  </a:lnTo>
                  <a:lnTo>
                    <a:pt x="228" y="3186"/>
                  </a:lnTo>
                  <a:lnTo>
                    <a:pt x="114" y="3186"/>
                  </a:lnTo>
                  <a:cubicBezTo>
                    <a:pt x="51" y="3186"/>
                    <a:pt x="0" y="3237"/>
                    <a:pt x="0" y="3300"/>
                  </a:cubicBezTo>
                  <a:cubicBezTo>
                    <a:pt x="0" y="3362"/>
                    <a:pt x="51" y="3413"/>
                    <a:pt x="114" y="3413"/>
                  </a:cubicBezTo>
                  <a:lnTo>
                    <a:pt x="228" y="3413"/>
                  </a:lnTo>
                  <a:lnTo>
                    <a:pt x="228" y="3755"/>
                  </a:lnTo>
                  <a:lnTo>
                    <a:pt x="114" y="3755"/>
                  </a:lnTo>
                  <a:cubicBezTo>
                    <a:pt x="51" y="3755"/>
                    <a:pt x="0" y="3806"/>
                    <a:pt x="0" y="3868"/>
                  </a:cubicBezTo>
                  <a:cubicBezTo>
                    <a:pt x="0" y="3931"/>
                    <a:pt x="51" y="3982"/>
                    <a:pt x="114" y="3982"/>
                  </a:cubicBezTo>
                  <a:lnTo>
                    <a:pt x="228" y="3982"/>
                  </a:lnTo>
                  <a:lnTo>
                    <a:pt x="228" y="4324"/>
                  </a:lnTo>
                  <a:lnTo>
                    <a:pt x="114" y="4324"/>
                  </a:lnTo>
                  <a:cubicBezTo>
                    <a:pt x="51" y="4324"/>
                    <a:pt x="0" y="4374"/>
                    <a:pt x="0" y="4437"/>
                  </a:cubicBezTo>
                  <a:cubicBezTo>
                    <a:pt x="0" y="4500"/>
                    <a:pt x="51" y="4551"/>
                    <a:pt x="114" y="4551"/>
                  </a:cubicBezTo>
                  <a:lnTo>
                    <a:pt x="228" y="4551"/>
                  </a:lnTo>
                  <a:lnTo>
                    <a:pt x="228" y="4892"/>
                  </a:lnTo>
                  <a:lnTo>
                    <a:pt x="114" y="4892"/>
                  </a:lnTo>
                  <a:cubicBezTo>
                    <a:pt x="51" y="4892"/>
                    <a:pt x="0" y="4943"/>
                    <a:pt x="0" y="5006"/>
                  </a:cubicBezTo>
                  <a:cubicBezTo>
                    <a:pt x="0" y="5069"/>
                    <a:pt x="51" y="5120"/>
                    <a:pt x="114" y="5120"/>
                  </a:cubicBezTo>
                  <a:lnTo>
                    <a:pt x="228" y="5120"/>
                  </a:lnTo>
                  <a:lnTo>
                    <a:pt x="228" y="5461"/>
                  </a:lnTo>
                  <a:lnTo>
                    <a:pt x="114" y="5461"/>
                  </a:lnTo>
                  <a:cubicBezTo>
                    <a:pt x="51" y="5461"/>
                    <a:pt x="0" y="5512"/>
                    <a:pt x="0" y="5575"/>
                  </a:cubicBezTo>
                  <a:cubicBezTo>
                    <a:pt x="0" y="5638"/>
                    <a:pt x="51" y="5689"/>
                    <a:pt x="114" y="5689"/>
                  </a:cubicBezTo>
                  <a:lnTo>
                    <a:pt x="228" y="5689"/>
                  </a:lnTo>
                  <a:lnTo>
                    <a:pt x="228" y="6030"/>
                  </a:lnTo>
                  <a:lnTo>
                    <a:pt x="114" y="6030"/>
                  </a:lnTo>
                  <a:cubicBezTo>
                    <a:pt x="51" y="6030"/>
                    <a:pt x="0" y="6081"/>
                    <a:pt x="0" y="6144"/>
                  </a:cubicBezTo>
                  <a:cubicBezTo>
                    <a:pt x="0" y="6207"/>
                    <a:pt x="51" y="6258"/>
                    <a:pt x="114" y="6258"/>
                  </a:cubicBezTo>
                  <a:lnTo>
                    <a:pt x="228" y="6258"/>
                  </a:lnTo>
                  <a:lnTo>
                    <a:pt x="228" y="6485"/>
                  </a:lnTo>
                  <a:cubicBezTo>
                    <a:pt x="228" y="6548"/>
                    <a:pt x="278" y="6599"/>
                    <a:pt x="341" y="6599"/>
                  </a:cubicBezTo>
                  <a:lnTo>
                    <a:pt x="683" y="6599"/>
                  </a:lnTo>
                  <a:lnTo>
                    <a:pt x="683" y="6713"/>
                  </a:lnTo>
                  <a:cubicBezTo>
                    <a:pt x="683" y="6776"/>
                    <a:pt x="734" y="6827"/>
                    <a:pt x="796" y="6827"/>
                  </a:cubicBezTo>
                  <a:cubicBezTo>
                    <a:pt x="859" y="6827"/>
                    <a:pt x="910" y="6776"/>
                    <a:pt x="910" y="6713"/>
                  </a:cubicBezTo>
                  <a:lnTo>
                    <a:pt x="910" y="6599"/>
                  </a:lnTo>
                  <a:lnTo>
                    <a:pt x="1252" y="6599"/>
                  </a:lnTo>
                  <a:lnTo>
                    <a:pt x="1252" y="6713"/>
                  </a:lnTo>
                  <a:cubicBezTo>
                    <a:pt x="1252" y="6776"/>
                    <a:pt x="1302" y="6827"/>
                    <a:pt x="1365" y="6827"/>
                  </a:cubicBezTo>
                  <a:cubicBezTo>
                    <a:pt x="1428" y="6827"/>
                    <a:pt x="1479" y="6776"/>
                    <a:pt x="1479" y="6713"/>
                  </a:cubicBezTo>
                  <a:lnTo>
                    <a:pt x="1479" y="6599"/>
                  </a:lnTo>
                  <a:lnTo>
                    <a:pt x="1820" y="6599"/>
                  </a:lnTo>
                  <a:lnTo>
                    <a:pt x="1820" y="6713"/>
                  </a:lnTo>
                  <a:cubicBezTo>
                    <a:pt x="1820" y="6776"/>
                    <a:pt x="1871" y="6827"/>
                    <a:pt x="1934" y="6827"/>
                  </a:cubicBezTo>
                  <a:cubicBezTo>
                    <a:pt x="1997" y="6827"/>
                    <a:pt x="2048" y="6776"/>
                    <a:pt x="2048" y="6713"/>
                  </a:cubicBezTo>
                  <a:lnTo>
                    <a:pt x="2048" y="6599"/>
                  </a:lnTo>
                  <a:lnTo>
                    <a:pt x="2389" y="6599"/>
                  </a:lnTo>
                  <a:lnTo>
                    <a:pt x="2389" y="6713"/>
                  </a:lnTo>
                  <a:cubicBezTo>
                    <a:pt x="2389" y="6776"/>
                    <a:pt x="2440" y="6827"/>
                    <a:pt x="2503" y="6827"/>
                  </a:cubicBezTo>
                  <a:cubicBezTo>
                    <a:pt x="2566" y="6827"/>
                    <a:pt x="2617" y="6776"/>
                    <a:pt x="2617" y="6713"/>
                  </a:cubicBezTo>
                  <a:lnTo>
                    <a:pt x="2617" y="6599"/>
                  </a:lnTo>
                  <a:lnTo>
                    <a:pt x="2958" y="6599"/>
                  </a:lnTo>
                  <a:lnTo>
                    <a:pt x="2958" y="6713"/>
                  </a:lnTo>
                  <a:cubicBezTo>
                    <a:pt x="2958" y="6776"/>
                    <a:pt x="3009" y="6827"/>
                    <a:pt x="3072" y="6827"/>
                  </a:cubicBezTo>
                  <a:cubicBezTo>
                    <a:pt x="3135" y="6827"/>
                    <a:pt x="3186" y="6776"/>
                    <a:pt x="3186" y="6713"/>
                  </a:cubicBezTo>
                  <a:lnTo>
                    <a:pt x="3186" y="6599"/>
                  </a:lnTo>
                  <a:lnTo>
                    <a:pt x="3527" y="6599"/>
                  </a:lnTo>
                  <a:lnTo>
                    <a:pt x="3527" y="6713"/>
                  </a:lnTo>
                  <a:cubicBezTo>
                    <a:pt x="3527" y="6776"/>
                    <a:pt x="3578" y="6827"/>
                    <a:pt x="3641" y="6827"/>
                  </a:cubicBezTo>
                  <a:cubicBezTo>
                    <a:pt x="3704" y="6827"/>
                    <a:pt x="3755" y="6776"/>
                    <a:pt x="3755" y="6713"/>
                  </a:cubicBezTo>
                  <a:lnTo>
                    <a:pt x="3755" y="6599"/>
                  </a:lnTo>
                  <a:lnTo>
                    <a:pt x="4096" y="6599"/>
                  </a:lnTo>
                  <a:lnTo>
                    <a:pt x="4096" y="6713"/>
                  </a:lnTo>
                  <a:cubicBezTo>
                    <a:pt x="4096" y="6776"/>
                    <a:pt x="4147" y="6827"/>
                    <a:pt x="4210" y="6827"/>
                  </a:cubicBezTo>
                  <a:cubicBezTo>
                    <a:pt x="4273" y="6827"/>
                    <a:pt x="4323" y="6776"/>
                    <a:pt x="4323" y="6713"/>
                  </a:cubicBezTo>
                  <a:lnTo>
                    <a:pt x="4323" y="6599"/>
                  </a:lnTo>
                  <a:lnTo>
                    <a:pt x="4665" y="6599"/>
                  </a:lnTo>
                  <a:lnTo>
                    <a:pt x="4665" y="6713"/>
                  </a:lnTo>
                  <a:cubicBezTo>
                    <a:pt x="4665" y="6776"/>
                    <a:pt x="4716" y="6827"/>
                    <a:pt x="4779" y="6827"/>
                  </a:cubicBezTo>
                  <a:cubicBezTo>
                    <a:pt x="4842" y="6827"/>
                    <a:pt x="4892" y="6776"/>
                    <a:pt x="4892" y="6713"/>
                  </a:cubicBezTo>
                  <a:lnTo>
                    <a:pt x="4892" y="6599"/>
                  </a:lnTo>
                  <a:lnTo>
                    <a:pt x="5234" y="6599"/>
                  </a:lnTo>
                  <a:lnTo>
                    <a:pt x="5234" y="6713"/>
                  </a:lnTo>
                  <a:cubicBezTo>
                    <a:pt x="5234" y="6776"/>
                    <a:pt x="5285" y="6827"/>
                    <a:pt x="5347" y="6827"/>
                  </a:cubicBezTo>
                  <a:cubicBezTo>
                    <a:pt x="5410" y="6827"/>
                    <a:pt x="5461" y="6776"/>
                    <a:pt x="5461" y="6713"/>
                  </a:cubicBezTo>
                  <a:lnTo>
                    <a:pt x="5461" y="6599"/>
                  </a:lnTo>
                  <a:lnTo>
                    <a:pt x="5803" y="6599"/>
                  </a:lnTo>
                  <a:lnTo>
                    <a:pt x="5803" y="6713"/>
                  </a:lnTo>
                  <a:cubicBezTo>
                    <a:pt x="5803" y="6776"/>
                    <a:pt x="5853" y="6827"/>
                    <a:pt x="5916" y="6827"/>
                  </a:cubicBezTo>
                  <a:cubicBezTo>
                    <a:pt x="5979" y="6827"/>
                    <a:pt x="6030" y="6776"/>
                    <a:pt x="6030" y="6713"/>
                  </a:cubicBezTo>
                  <a:lnTo>
                    <a:pt x="6030" y="6599"/>
                  </a:lnTo>
                  <a:lnTo>
                    <a:pt x="6371" y="6599"/>
                  </a:lnTo>
                  <a:lnTo>
                    <a:pt x="6371" y="6713"/>
                  </a:lnTo>
                  <a:cubicBezTo>
                    <a:pt x="6371" y="6776"/>
                    <a:pt x="6422" y="6827"/>
                    <a:pt x="6485" y="6827"/>
                  </a:cubicBezTo>
                  <a:cubicBezTo>
                    <a:pt x="6548" y="6827"/>
                    <a:pt x="6599" y="6776"/>
                    <a:pt x="6599" y="6713"/>
                  </a:cubicBezTo>
                  <a:lnTo>
                    <a:pt x="6599" y="6599"/>
                  </a:lnTo>
                  <a:lnTo>
                    <a:pt x="6713" y="6599"/>
                  </a:lnTo>
                  <a:cubicBezTo>
                    <a:pt x="6776" y="6599"/>
                    <a:pt x="6827" y="6548"/>
                    <a:pt x="6827" y="6485"/>
                  </a:cubicBezTo>
                  <a:cubicBezTo>
                    <a:pt x="6827" y="6422"/>
                    <a:pt x="6776" y="6372"/>
                    <a:pt x="6713" y="6372"/>
                  </a:cubicBezTo>
                  <a:lnTo>
                    <a:pt x="6599" y="6372"/>
                  </a:lnTo>
                  <a:lnTo>
                    <a:pt x="6599" y="6258"/>
                  </a:lnTo>
                  <a:cubicBezTo>
                    <a:pt x="6599" y="6195"/>
                    <a:pt x="6548" y="6144"/>
                    <a:pt x="6485" y="6144"/>
                  </a:cubicBezTo>
                  <a:cubicBezTo>
                    <a:pt x="6422" y="6144"/>
                    <a:pt x="6371" y="6195"/>
                    <a:pt x="6371" y="6258"/>
                  </a:cubicBezTo>
                  <a:lnTo>
                    <a:pt x="6371" y="6372"/>
                  </a:lnTo>
                  <a:lnTo>
                    <a:pt x="6030" y="6372"/>
                  </a:lnTo>
                  <a:lnTo>
                    <a:pt x="6030" y="6258"/>
                  </a:lnTo>
                  <a:cubicBezTo>
                    <a:pt x="6030" y="6195"/>
                    <a:pt x="5979" y="6144"/>
                    <a:pt x="5916" y="6144"/>
                  </a:cubicBezTo>
                  <a:cubicBezTo>
                    <a:pt x="5853" y="6144"/>
                    <a:pt x="5803" y="6195"/>
                    <a:pt x="5803" y="6258"/>
                  </a:cubicBezTo>
                  <a:lnTo>
                    <a:pt x="5803" y="6372"/>
                  </a:lnTo>
                  <a:lnTo>
                    <a:pt x="5461" y="6372"/>
                  </a:lnTo>
                  <a:lnTo>
                    <a:pt x="5461" y="6258"/>
                  </a:lnTo>
                  <a:cubicBezTo>
                    <a:pt x="5461" y="6195"/>
                    <a:pt x="5410" y="6144"/>
                    <a:pt x="5347" y="6144"/>
                  </a:cubicBezTo>
                  <a:cubicBezTo>
                    <a:pt x="5285" y="6144"/>
                    <a:pt x="5234" y="6195"/>
                    <a:pt x="5234" y="6258"/>
                  </a:cubicBezTo>
                  <a:lnTo>
                    <a:pt x="5234" y="6372"/>
                  </a:lnTo>
                  <a:lnTo>
                    <a:pt x="4892" y="6372"/>
                  </a:lnTo>
                  <a:lnTo>
                    <a:pt x="4892" y="6258"/>
                  </a:lnTo>
                  <a:cubicBezTo>
                    <a:pt x="4892" y="6195"/>
                    <a:pt x="4842" y="6144"/>
                    <a:pt x="4779" y="6144"/>
                  </a:cubicBezTo>
                  <a:cubicBezTo>
                    <a:pt x="4716" y="6144"/>
                    <a:pt x="4665" y="6195"/>
                    <a:pt x="4665" y="6258"/>
                  </a:cubicBezTo>
                  <a:lnTo>
                    <a:pt x="4665" y="6372"/>
                  </a:lnTo>
                  <a:lnTo>
                    <a:pt x="4323" y="6372"/>
                  </a:lnTo>
                  <a:lnTo>
                    <a:pt x="4323" y="6258"/>
                  </a:lnTo>
                  <a:cubicBezTo>
                    <a:pt x="4323" y="6195"/>
                    <a:pt x="4273" y="6144"/>
                    <a:pt x="4210" y="6144"/>
                  </a:cubicBezTo>
                  <a:cubicBezTo>
                    <a:pt x="4147" y="6144"/>
                    <a:pt x="4096" y="6195"/>
                    <a:pt x="4096" y="6258"/>
                  </a:cubicBezTo>
                  <a:lnTo>
                    <a:pt x="4096" y="6372"/>
                  </a:lnTo>
                  <a:lnTo>
                    <a:pt x="3755" y="6372"/>
                  </a:lnTo>
                  <a:lnTo>
                    <a:pt x="3755" y="6258"/>
                  </a:lnTo>
                  <a:cubicBezTo>
                    <a:pt x="3755" y="6195"/>
                    <a:pt x="3704" y="6144"/>
                    <a:pt x="3641" y="6144"/>
                  </a:cubicBezTo>
                  <a:cubicBezTo>
                    <a:pt x="3578" y="6144"/>
                    <a:pt x="3527" y="6195"/>
                    <a:pt x="3527" y="6258"/>
                  </a:cubicBezTo>
                  <a:lnTo>
                    <a:pt x="3527" y="6372"/>
                  </a:lnTo>
                  <a:lnTo>
                    <a:pt x="3186" y="6372"/>
                  </a:lnTo>
                  <a:lnTo>
                    <a:pt x="3186" y="6258"/>
                  </a:lnTo>
                  <a:cubicBezTo>
                    <a:pt x="3186" y="6195"/>
                    <a:pt x="3135" y="6144"/>
                    <a:pt x="3072" y="6144"/>
                  </a:cubicBezTo>
                  <a:cubicBezTo>
                    <a:pt x="3009" y="6144"/>
                    <a:pt x="2958" y="6195"/>
                    <a:pt x="2958" y="6258"/>
                  </a:cubicBezTo>
                  <a:lnTo>
                    <a:pt x="2958" y="6372"/>
                  </a:lnTo>
                  <a:lnTo>
                    <a:pt x="2617" y="6372"/>
                  </a:lnTo>
                  <a:lnTo>
                    <a:pt x="2617" y="6258"/>
                  </a:lnTo>
                  <a:cubicBezTo>
                    <a:pt x="2617" y="6195"/>
                    <a:pt x="2566" y="6144"/>
                    <a:pt x="2503" y="6144"/>
                  </a:cubicBezTo>
                  <a:cubicBezTo>
                    <a:pt x="2440" y="6144"/>
                    <a:pt x="2389" y="6195"/>
                    <a:pt x="2389" y="6258"/>
                  </a:cubicBezTo>
                  <a:lnTo>
                    <a:pt x="2389" y="6372"/>
                  </a:lnTo>
                  <a:lnTo>
                    <a:pt x="2048" y="6372"/>
                  </a:lnTo>
                  <a:lnTo>
                    <a:pt x="2048" y="6258"/>
                  </a:lnTo>
                  <a:cubicBezTo>
                    <a:pt x="2048" y="6195"/>
                    <a:pt x="1997" y="6144"/>
                    <a:pt x="1934" y="6144"/>
                  </a:cubicBezTo>
                  <a:cubicBezTo>
                    <a:pt x="1871" y="6144"/>
                    <a:pt x="1820" y="6195"/>
                    <a:pt x="1820" y="6258"/>
                  </a:cubicBezTo>
                  <a:lnTo>
                    <a:pt x="1820" y="6372"/>
                  </a:lnTo>
                  <a:lnTo>
                    <a:pt x="1479" y="6372"/>
                  </a:lnTo>
                  <a:lnTo>
                    <a:pt x="1479" y="6258"/>
                  </a:lnTo>
                  <a:cubicBezTo>
                    <a:pt x="1479" y="6195"/>
                    <a:pt x="1428" y="6144"/>
                    <a:pt x="1365" y="6144"/>
                  </a:cubicBezTo>
                  <a:cubicBezTo>
                    <a:pt x="1302" y="6144"/>
                    <a:pt x="1252" y="6195"/>
                    <a:pt x="1252" y="6258"/>
                  </a:cubicBezTo>
                  <a:lnTo>
                    <a:pt x="1252" y="6372"/>
                  </a:lnTo>
                  <a:lnTo>
                    <a:pt x="910" y="6372"/>
                  </a:lnTo>
                  <a:lnTo>
                    <a:pt x="910" y="6258"/>
                  </a:lnTo>
                  <a:cubicBezTo>
                    <a:pt x="910" y="6195"/>
                    <a:pt x="859" y="6144"/>
                    <a:pt x="796" y="6144"/>
                  </a:cubicBezTo>
                  <a:cubicBezTo>
                    <a:pt x="734" y="6144"/>
                    <a:pt x="683" y="6195"/>
                    <a:pt x="683" y="6258"/>
                  </a:cubicBezTo>
                  <a:lnTo>
                    <a:pt x="683" y="6372"/>
                  </a:lnTo>
                  <a:lnTo>
                    <a:pt x="455" y="6372"/>
                  </a:lnTo>
                  <a:lnTo>
                    <a:pt x="455" y="5234"/>
                  </a:lnTo>
                  <a:lnTo>
                    <a:pt x="1263" y="52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92" name="流程图: 过程 91">
            <a:extLst>
              <a:ext uri="{FF2B5EF4-FFF2-40B4-BE49-F238E27FC236}">
                <a16:creationId xmlns:a16="http://schemas.microsoft.com/office/drawing/2014/main" id="{6E8F25FE-F15A-4324-A65C-B382AD33FEF4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77" name="流程图: 过程 76">
            <a:extLst>
              <a:ext uri="{FF2B5EF4-FFF2-40B4-BE49-F238E27FC236}">
                <a16:creationId xmlns:a16="http://schemas.microsoft.com/office/drawing/2014/main" id="{3CFC478B-313D-44DB-8DB9-108B9264570E}"/>
              </a:ext>
            </a:extLst>
          </p:cNvPr>
          <p:cNvSpPr/>
          <p:nvPr/>
        </p:nvSpPr>
        <p:spPr>
          <a:xfrm>
            <a:off x="0" y="899495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02" name="ïṡḷîde">
            <a:extLst>
              <a:ext uri="{FF2B5EF4-FFF2-40B4-BE49-F238E27FC236}">
                <a16:creationId xmlns:a16="http://schemas.microsoft.com/office/drawing/2014/main" id="{C827495B-563B-4821-9270-18668381D353}"/>
              </a:ext>
            </a:extLst>
          </p:cNvPr>
          <p:cNvSpPr/>
          <p:nvPr/>
        </p:nvSpPr>
        <p:spPr>
          <a:xfrm>
            <a:off x="900515" y="1191886"/>
            <a:ext cx="10412186" cy="646331"/>
          </a:xfrm>
          <a:prstGeom prst="rect">
            <a:avLst/>
          </a:prstGeom>
        </p:spPr>
        <p:txBody>
          <a:bodyPr anchor="b" anchorCtr="0">
            <a:noAutofit/>
          </a:bodyPr>
          <a:lstStyle/>
          <a:p>
            <a:pPr algn="ctr">
              <a:buSzPct val="25000"/>
            </a:pPr>
            <a:r>
              <a:rPr lang="zh-CN" altLang="en-US" sz="2400" b="1" dirty="0"/>
              <a:t>无人机竞速的极大的回报空间</a:t>
            </a:r>
          </a:p>
        </p:txBody>
      </p:sp>
      <p:sp>
        <p:nvSpPr>
          <p:cNvPr id="109" name="iśḷîḍe">
            <a:extLst>
              <a:ext uri="{FF2B5EF4-FFF2-40B4-BE49-F238E27FC236}">
                <a16:creationId xmlns:a16="http://schemas.microsoft.com/office/drawing/2014/main" id="{7B2AD0D4-D8BB-40CA-BBBC-7376CB23F52C}"/>
              </a:ext>
            </a:extLst>
          </p:cNvPr>
          <p:cNvSpPr txBox="1"/>
          <p:nvPr/>
        </p:nvSpPr>
        <p:spPr>
          <a:xfrm>
            <a:off x="9501967" y="4347078"/>
            <a:ext cx="1810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5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亿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2" name="ís1îdè">
            <a:extLst>
              <a:ext uri="{FF2B5EF4-FFF2-40B4-BE49-F238E27FC236}">
                <a16:creationId xmlns:a16="http://schemas.microsoft.com/office/drawing/2014/main" id="{0EFD42ED-683B-47A1-8F97-C3DF92A4672F}"/>
              </a:ext>
            </a:extLst>
          </p:cNvPr>
          <p:cNvSpPr/>
          <p:nvPr/>
        </p:nvSpPr>
        <p:spPr>
          <a:xfrm>
            <a:off x="9196251" y="4745817"/>
            <a:ext cx="2455818" cy="471716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5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预计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无人机竞速商业变现将达到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1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亿美元，这意味着复合年增长率约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5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％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F618957-9816-4908-817C-084417A39F13}"/>
              </a:ext>
            </a:extLst>
          </p:cNvPr>
          <p:cNvGrpSpPr/>
          <p:nvPr/>
        </p:nvGrpSpPr>
        <p:grpSpPr>
          <a:xfrm>
            <a:off x="9501967" y="2268780"/>
            <a:ext cx="1810734" cy="1810731"/>
            <a:chOff x="9501967" y="2268780"/>
            <a:chExt cx="1810734" cy="1810731"/>
          </a:xfrm>
        </p:grpSpPr>
        <p:sp>
          <p:nvSpPr>
            <p:cNvPr id="148" name="íŝļïḍè">
              <a:extLst>
                <a:ext uri="{FF2B5EF4-FFF2-40B4-BE49-F238E27FC236}">
                  <a16:creationId xmlns:a16="http://schemas.microsoft.com/office/drawing/2014/main" id="{A8CE1200-42D0-4025-8D18-DFE153114F38}"/>
                </a:ext>
              </a:extLst>
            </p:cNvPr>
            <p:cNvSpPr/>
            <p:nvPr/>
          </p:nvSpPr>
          <p:spPr>
            <a:xfrm>
              <a:off x="9501967" y="2268780"/>
              <a:ext cx="1810734" cy="1810731"/>
            </a:xfrm>
            <a:prstGeom prst="ellipse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149" name="îŝlíḋè">
              <a:extLst>
                <a:ext uri="{FF2B5EF4-FFF2-40B4-BE49-F238E27FC236}">
                  <a16:creationId xmlns:a16="http://schemas.microsoft.com/office/drawing/2014/main" id="{EA7EBD50-993C-4F87-A502-510C0342D9C2}"/>
                </a:ext>
              </a:extLst>
            </p:cNvPr>
            <p:cNvSpPr/>
            <p:nvPr/>
          </p:nvSpPr>
          <p:spPr>
            <a:xfrm>
              <a:off x="9739888" y="3359184"/>
              <a:ext cx="1334891" cy="590324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1D5394"/>
                  </a:solidFill>
                </a:rPr>
                <a:t>0</a:t>
              </a:r>
              <a:r>
                <a:rPr lang="en-US" altLang="zh-CN" sz="100" b="1" dirty="0">
                  <a:solidFill>
                    <a:srgbClr val="1D5394"/>
                  </a:solidFill>
                </a:rPr>
                <a:t> </a:t>
              </a:r>
              <a:r>
                <a:rPr lang="en-US" altLang="zh-CN" sz="2000" b="1" dirty="0">
                  <a:solidFill>
                    <a:srgbClr val="1D5394"/>
                  </a:solidFill>
                </a:rPr>
                <a:t>4</a:t>
              </a:r>
              <a:endParaRPr lang="zh-CN" altLang="en-US" sz="2000" b="1" dirty="0">
                <a:solidFill>
                  <a:srgbClr val="1D5394"/>
                </a:solidFill>
              </a:endParaRPr>
            </a:p>
          </p:txBody>
        </p:sp>
        <p:sp>
          <p:nvSpPr>
            <p:cNvPr id="113" name="ïṡľïḑê">
              <a:extLst>
                <a:ext uri="{FF2B5EF4-FFF2-40B4-BE49-F238E27FC236}">
                  <a16:creationId xmlns:a16="http://schemas.microsoft.com/office/drawing/2014/main" id="{E97E0407-FD25-4A30-949A-6669DA50CF2F}"/>
                </a:ext>
              </a:extLst>
            </p:cNvPr>
            <p:cNvSpPr/>
            <p:nvPr/>
          </p:nvSpPr>
          <p:spPr>
            <a:xfrm>
              <a:off x="10119332" y="2681756"/>
              <a:ext cx="576003" cy="576000"/>
            </a:xfrm>
            <a:prstGeom prst="ellipse">
              <a:avLst/>
            </a:prstGeom>
            <a:solidFill>
              <a:srgbClr val="1D5394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4" name="íṩ1ïďê">
              <a:extLst>
                <a:ext uri="{FF2B5EF4-FFF2-40B4-BE49-F238E27FC236}">
                  <a16:creationId xmlns:a16="http://schemas.microsoft.com/office/drawing/2014/main" id="{9CAC1833-99B5-470B-BE26-03076F271982}"/>
                </a:ext>
              </a:extLst>
            </p:cNvPr>
            <p:cNvSpPr/>
            <p:nvPr/>
          </p:nvSpPr>
          <p:spPr bwMode="auto">
            <a:xfrm>
              <a:off x="10274062" y="2863634"/>
              <a:ext cx="266542" cy="212245"/>
            </a:xfrm>
            <a:custGeom>
              <a:avLst/>
              <a:gdLst>
                <a:gd name="connsiteX0" fmla="*/ 486767 w 514350"/>
                <a:gd name="connsiteY0" fmla="*/ 621 h 409575"/>
                <a:gd name="connsiteX1" fmla="*/ 515342 w 514350"/>
                <a:gd name="connsiteY1" fmla="*/ 29196 h 409575"/>
                <a:gd name="connsiteX2" fmla="*/ 515342 w 514350"/>
                <a:gd name="connsiteY2" fmla="*/ 324471 h 409575"/>
                <a:gd name="connsiteX3" fmla="*/ 486767 w 514350"/>
                <a:gd name="connsiteY3" fmla="*/ 353046 h 409575"/>
                <a:gd name="connsiteX4" fmla="*/ 192159 w 514350"/>
                <a:gd name="connsiteY4" fmla="*/ 353046 h 409575"/>
                <a:gd name="connsiteX5" fmla="*/ 115387 w 514350"/>
                <a:gd name="connsiteY5" fmla="*/ 410196 h 409575"/>
                <a:gd name="connsiteX6" fmla="*/ 115387 w 514350"/>
                <a:gd name="connsiteY6" fmla="*/ 353046 h 409575"/>
                <a:gd name="connsiteX7" fmla="*/ 29567 w 514350"/>
                <a:gd name="connsiteY7" fmla="*/ 353046 h 409575"/>
                <a:gd name="connsiteX8" fmla="*/ 992 w 514350"/>
                <a:gd name="connsiteY8" fmla="*/ 324471 h 409575"/>
                <a:gd name="connsiteX9" fmla="*/ 992 w 514350"/>
                <a:gd name="connsiteY9" fmla="*/ 29196 h 409575"/>
                <a:gd name="connsiteX10" fmla="*/ 29567 w 514350"/>
                <a:gd name="connsiteY10" fmla="*/ 621 h 409575"/>
                <a:gd name="connsiteX11" fmla="*/ 486767 w 514350"/>
                <a:gd name="connsiteY11" fmla="*/ 621 h 409575"/>
                <a:gd name="connsiteX12" fmla="*/ 124817 w 514350"/>
                <a:gd name="connsiteY12" fmla="*/ 143496 h 409575"/>
                <a:gd name="connsiteX13" fmla="*/ 91480 w 514350"/>
                <a:gd name="connsiteY13" fmla="*/ 176834 h 409575"/>
                <a:gd name="connsiteX14" fmla="*/ 124817 w 514350"/>
                <a:gd name="connsiteY14" fmla="*/ 210171 h 409575"/>
                <a:gd name="connsiteX15" fmla="*/ 158155 w 514350"/>
                <a:gd name="connsiteY15" fmla="*/ 176834 h 409575"/>
                <a:gd name="connsiteX16" fmla="*/ 124817 w 514350"/>
                <a:gd name="connsiteY16" fmla="*/ 143496 h 409575"/>
                <a:gd name="connsiteX17" fmla="*/ 258167 w 514350"/>
                <a:gd name="connsiteY17" fmla="*/ 143496 h 409575"/>
                <a:gd name="connsiteX18" fmla="*/ 224830 w 514350"/>
                <a:gd name="connsiteY18" fmla="*/ 176834 h 409575"/>
                <a:gd name="connsiteX19" fmla="*/ 258167 w 514350"/>
                <a:gd name="connsiteY19" fmla="*/ 210171 h 409575"/>
                <a:gd name="connsiteX20" fmla="*/ 291505 w 514350"/>
                <a:gd name="connsiteY20" fmla="*/ 176834 h 409575"/>
                <a:gd name="connsiteX21" fmla="*/ 258167 w 514350"/>
                <a:gd name="connsiteY21" fmla="*/ 143496 h 409575"/>
                <a:gd name="connsiteX22" fmla="*/ 391517 w 514350"/>
                <a:gd name="connsiteY22" fmla="*/ 143496 h 409575"/>
                <a:gd name="connsiteX23" fmla="*/ 358180 w 514350"/>
                <a:gd name="connsiteY23" fmla="*/ 176834 h 409575"/>
                <a:gd name="connsiteX24" fmla="*/ 391517 w 514350"/>
                <a:gd name="connsiteY24" fmla="*/ 210171 h 409575"/>
                <a:gd name="connsiteX25" fmla="*/ 424855 w 514350"/>
                <a:gd name="connsiteY25" fmla="*/ 176834 h 409575"/>
                <a:gd name="connsiteX26" fmla="*/ 391517 w 514350"/>
                <a:gd name="connsiteY26" fmla="*/ 143496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4350" h="409575">
                  <a:moveTo>
                    <a:pt x="486767" y="621"/>
                  </a:moveTo>
                  <a:cubicBezTo>
                    <a:pt x="502579" y="621"/>
                    <a:pt x="515342" y="13385"/>
                    <a:pt x="515342" y="29196"/>
                  </a:cubicBezTo>
                  <a:lnTo>
                    <a:pt x="515342" y="324471"/>
                  </a:lnTo>
                  <a:cubicBezTo>
                    <a:pt x="515342" y="340282"/>
                    <a:pt x="502579" y="353046"/>
                    <a:pt x="486767" y="353046"/>
                  </a:cubicBezTo>
                  <a:lnTo>
                    <a:pt x="192159" y="353046"/>
                  </a:lnTo>
                  <a:lnTo>
                    <a:pt x="115387" y="410196"/>
                  </a:lnTo>
                  <a:lnTo>
                    <a:pt x="115387" y="353046"/>
                  </a:lnTo>
                  <a:lnTo>
                    <a:pt x="29567" y="353046"/>
                  </a:lnTo>
                  <a:cubicBezTo>
                    <a:pt x="13755" y="353046"/>
                    <a:pt x="992" y="340282"/>
                    <a:pt x="992" y="324471"/>
                  </a:cubicBezTo>
                  <a:lnTo>
                    <a:pt x="992" y="29196"/>
                  </a:lnTo>
                  <a:cubicBezTo>
                    <a:pt x="992" y="13385"/>
                    <a:pt x="13755" y="621"/>
                    <a:pt x="29567" y="621"/>
                  </a:cubicBezTo>
                  <a:lnTo>
                    <a:pt x="486767" y="621"/>
                  </a:lnTo>
                  <a:close/>
                  <a:moveTo>
                    <a:pt x="124817" y="143496"/>
                  </a:moveTo>
                  <a:cubicBezTo>
                    <a:pt x="106434" y="143496"/>
                    <a:pt x="91480" y="158450"/>
                    <a:pt x="91480" y="176834"/>
                  </a:cubicBezTo>
                  <a:cubicBezTo>
                    <a:pt x="91480" y="195217"/>
                    <a:pt x="106434" y="210171"/>
                    <a:pt x="124817" y="210171"/>
                  </a:cubicBezTo>
                  <a:cubicBezTo>
                    <a:pt x="143200" y="210171"/>
                    <a:pt x="158155" y="195217"/>
                    <a:pt x="158155" y="176834"/>
                  </a:cubicBezTo>
                  <a:cubicBezTo>
                    <a:pt x="158155" y="158450"/>
                    <a:pt x="143200" y="143496"/>
                    <a:pt x="124817" y="143496"/>
                  </a:cubicBezTo>
                  <a:close/>
                  <a:moveTo>
                    <a:pt x="258167" y="143496"/>
                  </a:moveTo>
                  <a:cubicBezTo>
                    <a:pt x="239784" y="143496"/>
                    <a:pt x="224830" y="158450"/>
                    <a:pt x="224830" y="176834"/>
                  </a:cubicBezTo>
                  <a:cubicBezTo>
                    <a:pt x="224830" y="195217"/>
                    <a:pt x="239784" y="210171"/>
                    <a:pt x="258167" y="210171"/>
                  </a:cubicBezTo>
                  <a:cubicBezTo>
                    <a:pt x="276550" y="210171"/>
                    <a:pt x="291505" y="195217"/>
                    <a:pt x="291505" y="176834"/>
                  </a:cubicBezTo>
                  <a:cubicBezTo>
                    <a:pt x="291505" y="158450"/>
                    <a:pt x="276550" y="143496"/>
                    <a:pt x="258167" y="143496"/>
                  </a:cubicBezTo>
                  <a:close/>
                  <a:moveTo>
                    <a:pt x="391517" y="143496"/>
                  </a:moveTo>
                  <a:cubicBezTo>
                    <a:pt x="373134" y="143496"/>
                    <a:pt x="358180" y="158450"/>
                    <a:pt x="358180" y="176834"/>
                  </a:cubicBezTo>
                  <a:cubicBezTo>
                    <a:pt x="358180" y="195217"/>
                    <a:pt x="373134" y="210171"/>
                    <a:pt x="391517" y="210171"/>
                  </a:cubicBezTo>
                  <a:cubicBezTo>
                    <a:pt x="409900" y="210171"/>
                    <a:pt x="424855" y="195217"/>
                    <a:pt x="424855" y="176834"/>
                  </a:cubicBezTo>
                  <a:cubicBezTo>
                    <a:pt x="424855" y="158450"/>
                    <a:pt x="409900" y="143496"/>
                    <a:pt x="391517" y="1434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138" name="íslîďè">
            <a:extLst>
              <a:ext uri="{FF2B5EF4-FFF2-40B4-BE49-F238E27FC236}">
                <a16:creationId xmlns:a16="http://schemas.microsoft.com/office/drawing/2014/main" id="{C1C1B20B-4F7F-4749-A91C-4149B1C33A00}"/>
              </a:ext>
            </a:extLst>
          </p:cNvPr>
          <p:cNvSpPr txBox="1"/>
          <p:nvPr/>
        </p:nvSpPr>
        <p:spPr>
          <a:xfrm>
            <a:off x="3765919" y="4347078"/>
            <a:ext cx="1810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8%</a:t>
            </a:r>
          </a:p>
        </p:txBody>
      </p:sp>
      <p:sp>
        <p:nvSpPr>
          <p:cNvPr id="139" name="išļiďe">
            <a:extLst>
              <a:ext uri="{FF2B5EF4-FFF2-40B4-BE49-F238E27FC236}">
                <a16:creationId xmlns:a16="http://schemas.microsoft.com/office/drawing/2014/main" id="{048FAA15-C77C-477D-8D24-F94586A6E4E3}"/>
              </a:ext>
            </a:extLst>
          </p:cNvPr>
          <p:cNvSpPr/>
          <p:nvPr/>
        </p:nvSpPr>
        <p:spPr>
          <a:xfrm>
            <a:off x="3460203" y="4745817"/>
            <a:ext cx="2455818" cy="471716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5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商用和个人无人机将成为推动全球无人机市场增长的主要动力，在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获得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5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％的市场份额，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1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则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38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％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E72B87B7-1DE3-4793-BF38-CD5F7AADE79E}"/>
              </a:ext>
            </a:extLst>
          </p:cNvPr>
          <p:cNvGrpSpPr/>
          <p:nvPr/>
        </p:nvGrpSpPr>
        <p:grpSpPr>
          <a:xfrm>
            <a:off x="3765919" y="2268780"/>
            <a:ext cx="1810734" cy="1810731"/>
            <a:chOff x="4079430" y="2268780"/>
            <a:chExt cx="1810734" cy="1810731"/>
          </a:xfrm>
        </p:grpSpPr>
        <p:sp>
          <p:nvSpPr>
            <p:cNvPr id="145" name="îSlîḍè">
              <a:extLst>
                <a:ext uri="{FF2B5EF4-FFF2-40B4-BE49-F238E27FC236}">
                  <a16:creationId xmlns:a16="http://schemas.microsoft.com/office/drawing/2014/main" id="{C8F082D2-E753-4285-AA06-CC70934560E6}"/>
                </a:ext>
              </a:extLst>
            </p:cNvPr>
            <p:cNvSpPr/>
            <p:nvPr/>
          </p:nvSpPr>
          <p:spPr>
            <a:xfrm>
              <a:off x="4079430" y="2268780"/>
              <a:ext cx="1810734" cy="1810731"/>
            </a:xfrm>
            <a:prstGeom prst="ellipse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147" name="iṩlíḑé">
              <a:extLst>
                <a:ext uri="{FF2B5EF4-FFF2-40B4-BE49-F238E27FC236}">
                  <a16:creationId xmlns:a16="http://schemas.microsoft.com/office/drawing/2014/main" id="{5ACC896F-C24A-4F73-A5E9-02BCBA2B44B6}"/>
                </a:ext>
              </a:extLst>
            </p:cNvPr>
            <p:cNvSpPr/>
            <p:nvPr/>
          </p:nvSpPr>
          <p:spPr>
            <a:xfrm>
              <a:off x="4317351" y="3359184"/>
              <a:ext cx="1334891" cy="590324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rgbClr val="229AB4"/>
                  </a:solidFill>
                </a:rPr>
                <a:t>0</a:t>
              </a:r>
              <a:r>
                <a:rPr lang="en-US" altLang="zh-CN" sz="100" b="1" dirty="0">
                  <a:solidFill>
                    <a:srgbClr val="229AB4"/>
                  </a:solidFill>
                </a:rPr>
                <a:t> </a:t>
              </a:r>
              <a:r>
                <a:rPr lang="en-US" altLang="zh-CN" sz="2000" b="1" dirty="0">
                  <a:solidFill>
                    <a:srgbClr val="229AB4"/>
                  </a:solidFill>
                </a:rPr>
                <a:t>2</a:t>
              </a:r>
              <a:endParaRPr lang="zh-CN" altLang="en-US" sz="2000" b="1" dirty="0">
                <a:solidFill>
                  <a:srgbClr val="229AB4"/>
                </a:solidFill>
              </a:endParaRPr>
            </a:p>
          </p:txBody>
        </p:sp>
        <p:grpSp>
          <p:nvGrpSpPr>
            <p:cNvPr id="142" name="ïṧ1iḑe">
              <a:extLst>
                <a:ext uri="{FF2B5EF4-FFF2-40B4-BE49-F238E27FC236}">
                  <a16:creationId xmlns:a16="http://schemas.microsoft.com/office/drawing/2014/main" id="{A0C8E625-3D9A-470B-BAAC-AE41C2627813}"/>
                </a:ext>
              </a:extLst>
            </p:cNvPr>
            <p:cNvGrpSpPr/>
            <p:nvPr/>
          </p:nvGrpSpPr>
          <p:grpSpPr>
            <a:xfrm>
              <a:off x="4696794" y="2681756"/>
              <a:ext cx="576003" cy="576000"/>
              <a:chOff x="5085594" y="3332619"/>
              <a:chExt cx="576003" cy="576000"/>
            </a:xfrm>
          </p:grpSpPr>
          <p:sp>
            <p:nvSpPr>
              <p:cNvPr id="143" name="iŝ1íḋé">
                <a:extLst>
                  <a:ext uri="{FF2B5EF4-FFF2-40B4-BE49-F238E27FC236}">
                    <a16:creationId xmlns:a16="http://schemas.microsoft.com/office/drawing/2014/main" id="{56FC2F6A-65FE-478B-90F5-FA824EA31188}"/>
                  </a:ext>
                </a:extLst>
              </p:cNvPr>
              <p:cNvSpPr/>
              <p:nvPr/>
            </p:nvSpPr>
            <p:spPr>
              <a:xfrm>
                <a:off x="5085594" y="3332619"/>
                <a:ext cx="576003" cy="576000"/>
              </a:xfrm>
              <a:prstGeom prst="ellipse">
                <a:avLst/>
              </a:prstGeom>
              <a:solidFill>
                <a:srgbClr val="229AB4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4" name="ísľïďè">
                <a:extLst>
                  <a:ext uri="{FF2B5EF4-FFF2-40B4-BE49-F238E27FC236}">
                    <a16:creationId xmlns:a16="http://schemas.microsoft.com/office/drawing/2014/main" id="{4E331CE1-6015-4301-B963-A6864767AE4B}"/>
                  </a:ext>
                </a:extLst>
              </p:cNvPr>
              <p:cNvSpPr/>
              <p:nvPr/>
            </p:nvSpPr>
            <p:spPr bwMode="auto">
              <a:xfrm>
                <a:off x="5240326" y="3509669"/>
                <a:ext cx="266542" cy="221899"/>
              </a:xfrm>
              <a:custGeom>
                <a:avLst/>
                <a:gdLst>
                  <a:gd name="connsiteX0" fmla="*/ 483573 w 526297"/>
                  <a:gd name="connsiteY0" fmla="*/ 133971 h 438150"/>
                  <a:gd name="connsiteX1" fmla="*/ 527674 w 526297"/>
                  <a:gd name="connsiteY1" fmla="*/ 178072 h 438150"/>
                  <a:gd name="connsiteX2" fmla="*/ 527579 w 526297"/>
                  <a:gd name="connsiteY2" fmla="*/ 181501 h 438150"/>
                  <a:gd name="connsiteX3" fmla="*/ 514244 w 526297"/>
                  <a:gd name="connsiteY3" fmla="*/ 355237 h 438150"/>
                  <a:gd name="connsiteX4" fmla="*/ 485764 w 526297"/>
                  <a:gd name="connsiteY4" fmla="*/ 381621 h 438150"/>
                  <a:gd name="connsiteX5" fmla="*/ 454998 w 526297"/>
                  <a:gd name="connsiteY5" fmla="*/ 381621 h 438150"/>
                  <a:gd name="connsiteX6" fmla="*/ 454998 w 526297"/>
                  <a:gd name="connsiteY6" fmla="*/ 438771 h 438150"/>
                  <a:gd name="connsiteX7" fmla="*/ 435948 w 526297"/>
                  <a:gd name="connsiteY7" fmla="*/ 438771 h 438150"/>
                  <a:gd name="connsiteX8" fmla="*/ 435948 w 526297"/>
                  <a:gd name="connsiteY8" fmla="*/ 381621 h 438150"/>
                  <a:gd name="connsiteX9" fmla="*/ 93048 w 526297"/>
                  <a:gd name="connsiteY9" fmla="*/ 381621 h 438150"/>
                  <a:gd name="connsiteX10" fmla="*/ 93048 w 526297"/>
                  <a:gd name="connsiteY10" fmla="*/ 438771 h 438150"/>
                  <a:gd name="connsiteX11" fmla="*/ 73998 w 526297"/>
                  <a:gd name="connsiteY11" fmla="*/ 438771 h 438150"/>
                  <a:gd name="connsiteX12" fmla="*/ 73998 w 526297"/>
                  <a:gd name="connsiteY12" fmla="*/ 381621 h 438150"/>
                  <a:gd name="connsiteX13" fmla="*/ 43328 w 526297"/>
                  <a:gd name="connsiteY13" fmla="*/ 381621 h 438150"/>
                  <a:gd name="connsiteX14" fmla="*/ 14848 w 526297"/>
                  <a:gd name="connsiteY14" fmla="*/ 355237 h 438150"/>
                  <a:gd name="connsiteX15" fmla="*/ 1513 w 526297"/>
                  <a:gd name="connsiteY15" fmla="*/ 181501 h 438150"/>
                  <a:gd name="connsiteX16" fmla="*/ 42089 w 526297"/>
                  <a:gd name="connsiteY16" fmla="*/ 134162 h 438150"/>
                  <a:gd name="connsiteX17" fmla="*/ 45518 w 526297"/>
                  <a:gd name="connsiteY17" fmla="*/ 134066 h 438150"/>
                  <a:gd name="connsiteX18" fmla="*/ 101906 w 526297"/>
                  <a:gd name="connsiteY18" fmla="*/ 180834 h 438150"/>
                  <a:gd name="connsiteX19" fmla="*/ 121623 w 526297"/>
                  <a:gd name="connsiteY19" fmla="*/ 286371 h 438150"/>
                  <a:gd name="connsiteX20" fmla="*/ 407373 w 526297"/>
                  <a:gd name="connsiteY20" fmla="*/ 286371 h 438150"/>
                  <a:gd name="connsiteX21" fmla="*/ 427185 w 526297"/>
                  <a:gd name="connsiteY21" fmla="*/ 180739 h 438150"/>
                  <a:gd name="connsiteX22" fmla="*/ 483573 w 526297"/>
                  <a:gd name="connsiteY22" fmla="*/ 133971 h 438150"/>
                  <a:gd name="connsiteX23" fmla="*/ 416898 w 526297"/>
                  <a:gd name="connsiteY23" fmla="*/ 621 h 438150"/>
                  <a:gd name="connsiteX24" fmla="*/ 483573 w 526297"/>
                  <a:gd name="connsiteY24" fmla="*/ 67296 h 438150"/>
                  <a:gd name="connsiteX25" fmla="*/ 483573 w 526297"/>
                  <a:gd name="connsiteY25" fmla="*/ 115397 h 438150"/>
                  <a:gd name="connsiteX26" fmla="*/ 476429 w 526297"/>
                  <a:gd name="connsiteY26" fmla="*/ 114921 h 438150"/>
                  <a:gd name="connsiteX27" fmla="*/ 412040 w 526297"/>
                  <a:gd name="connsiteY27" fmla="*/ 166451 h 438150"/>
                  <a:gd name="connsiteX28" fmla="*/ 411564 w 526297"/>
                  <a:gd name="connsiteY28" fmla="*/ 168737 h 438150"/>
                  <a:gd name="connsiteX29" fmla="*/ 393086 w 526297"/>
                  <a:gd name="connsiteY29" fmla="*/ 267321 h 438150"/>
                  <a:gd name="connsiteX30" fmla="*/ 135911 w 526297"/>
                  <a:gd name="connsiteY30" fmla="*/ 267321 h 438150"/>
                  <a:gd name="connsiteX31" fmla="*/ 117432 w 526297"/>
                  <a:gd name="connsiteY31" fmla="*/ 168737 h 438150"/>
                  <a:gd name="connsiteX32" fmla="*/ 52567 w 526297"/>
                  <a:gd name="connsiteY32" fmla="*/ 114921 h 438150"/>
                  <a:gd name="connsiteX33" fmla="*/ 54948 w 526297"/>
                  <a:gd name="connsiteY33" fmla="*/ 67296 h 438150"/>
                  <a:gd name="connsiteX34" fmla="*/ 121623 w 526297"/>
                  <a:gd name="connsiteY34" fmla="*/ 621 h 438150"/>
                  <a:gd name="connsiteX35" fmla="*/ 416898 w 526297"/>
                  <a:gd name="connsiteY35" fmla="*/ 62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6297" h="438150">
                    <a:moveTo>
                      <a:pt x="483573" y="133971"/>
                    </a:moveTo>
                    <a:cubicBezTo>
                      <a:pt x="507957" y="133971"/>
                      <a:pt x="527674" y="153688"/>
                      <a:pt x="527674" y="178072"/>
                    </a:cubicBezTo>
                    <a:cubicBezTo>
                      <a:pt x="527674" y="179215"/>
                      <a:pt x="527674" y="180358"/>
                      <a:pt x="527579" y="181501"/>
                    </a:cubicBezTo>
                    <a:lnTo>
                      <a:pt x="514244" y="355237"/>
                    </a:lnTo>
                    <a:cubicBezTo>
                      <a:pt x="513101" y="370096"/>
                      <a:pt x="500718" y="381621"/>
                      <a:pt x="485764" y="381621"/>
                    </a:cubicBezTo>
                    <a:lnTo>
                      <a:pt x="454998" y="381621"/>
                    </a:lnTo>
                    <a:lnTo>
                      <a:pt x="454998" y="438771"/>
                    </a:lnTo>
                    <a:lnTo>
                      <a:pt x="435948" y="438771"/>
                    </a:lnTo>
                    <a:lnTo>
                      <a:pt x="435948" y="381621"/>
                    </a:lnTo>
                    <a:lnTo>
                      <a:pt x="93048" y="381621"/>
                    </a:lnTo>
                    <a:lnTo>
                      <a:pt x="93048" y="438771"/>
                    </a:lnTo>
                    <a:lnTo>
                      <a:pt x="73998" y="438771"/>
                    </a:lnTo>
                    <a:lnTo>
                      <a:pt x="73998" y="381621"/>
                    </a:lnTo>
                    <a:lnTo>
                      <a:pt x="43328" y="381621"/>
                    </a:lnTo>
                    <a:cubicBezTo>
                      <a:pt x="28373" y="381621"/>
                      <a:pt x="15991" y="370096"/>
                      <a:pt x="14848" y="355237"/>
                    </a:cubicBezTo>
                    <a:lnTo>
                      <a:pt x="1513" y="181501"/>
                    </a:lnTo>
                    <a:cubicBezTo>
                      <a:pt x="-392" y="157212"/>
                      <a:pt x="17801" y="135971"/>
                      <a:pt x="42089" y="134162"/>
                    </a:cubicBezTo>
                    <a:cubicBezTo>
                      <a:pt x="43232" y="134066"/>
                      <a:pt x="44375" y="134066"/>
                      <a:pt x="45518" y="134066"/>
                    </a:cubicBezTo>
                    <a:cubicBezTo>
                      <a:pt x="73141" y="134066"/>
                      <a:pt x="96858" y="153688"/>
                      <a:pt x="101906" y="180834"/>
                    </a:cubicBezTo>
                    <a:lnTo>
                      <a:pt x="121623" y="286371"/>
                    </a:lnTo>
                    <a:lnTo>
                      <a:pt x="407373" y="286371"/>
                    </a:lnTo>
                    <a:lnTo>
                      <a:pt x="427185" y="180739"/>
                    </a:lnTo>
                    <a:cubicBezTo>
                      <a:pt x="432233" y="153592"/>
                      <a:pt x="455951" y="133971"/>
                      <a:pt x="483573" y="133971"/>
                    </a:cubicBezTo>
                    <a:close/>
                    <a:moveTo>
                      <a:pt x="416898" y="621"/>
                    </a:moveTo>
                    <a:cubicBezTo>
                      <a:pt x="453760" y="621"/>
                      <a:pt x="483573" y="30434"/>
                      <a:pt x="483573" y="67296"/>
                    </a:cubicBezTo>
                    <a:lnTo>
                      <a:pt x="483573" y="115397"/>
                    </a:lnTo>
                    <a:cubicBezTo>
                      <a:pt x="481192" y="115112"/>
                      <a:pt x="478811" y="114921"/>
                      <a:pt x="476429" y="114921"/>
                    </a:cubicBezTo>
                    <a:cubicBezTo>
                      <a:pt x="445473" y="114921"/>
                      <a:pt x="418803" y="136448"/>
                      <a:pt x="412040" y="166451"/>
                    </a:cubicBezTo>
                    <a:lnTo>
                      <a:pt x="411564" y="168737"/>
                    </a:lnTo>
                    <a:lnTo>
                      <a:pt x="393086" y="267321"/>
                    </a:lnTo>
                    <a:lnTo>
                      <a:pt x="135911" y="267321"/>
                    </a:lnTo>
                    <a:lnTo>
                      <a:pt x="117432" y="168737"/>
                    </a:lnTo>
                    <a:cubicBezTo>
                      <a:pt x="111622" y="137495"/>
                      <a:pt x="84285" y="114921"/>
                      <a:pt x="52567" y="114921"/>
                    </a:cubicBezTo>
                    <a:lnTo>
                      <a:pt x="54948" y="67296"/>
                    </a:lnTo>
                    <a:cubicBezTo>
                      <a:pt x="54948" y="30434"/>
                      <a:pt x="84761" y="621"/>
                      <a:pt x="121623" y="621"/>
                    </a:cubicBezTo>
                    <a:lnTo>
                      <a:pt x="416898" y="62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</p:grpSp>
      <p:sp>
        <p:nvSpPr>
          <p:cNvPr id="128" name="îṣľïďe">
            <a:extLst>
              <a:ext uri="{FF2B5EF4-FFF2-40B4-BE49-F238E27FC236}">
                <a16:creationId xmlns:a16="http://schemas.microsoft.com/office/drawing/2014/main" id="{0FAF2ABE-F5A3-4456-A7B5-C79F5521AE74}"/>
              </a:ext>
            </a:extLst>
          </p:cNvPr>
          <p:cNvSpPr txBox="1"/>
          <p:nvPr/>
        </p:nvSpPr>
        <p:spPr>
          <a:xfrm>
            <a:off x="897895" y="4347078"/>
            <a:ext cx="1810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90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亿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9" name="iṣ1iḍê">
            <a:extLst>
              <a:ext uri="{FF2B5EF4-FFF2-40B4-BE49-F238E27FC236}">
                <a16:creationId xmlns:a16="http://schemas.microsoft.com/office/drawing/2014/main" id="{338DFAA9-235E-4E82-8C76-9243390432CA}"/>
              </a:ext>
            </a:extLst>
          </p:cNvPr>
          <p:cNvSpPr/>
          <p:nvPr/>
        </p:nvSpPr>
        <p:spPr>
          <a:xfrm>
            <a:off x="592179" y="4745817"/>
            <a:ext cx="2455818" cy="471716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5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1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全球无人机市场规模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69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亿美元，预计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，中等复合年增长率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CAG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）将超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1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％，超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127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亿美元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FDBF3E1D-B8D7-4D9B-A767-4597E1DC61D8}"/>
              </a:ext>
            </a:extLst>
          </p:cNvPr>
          <p:cNvGrpSpPr/>
          <p:nvPr/>
        </p:nvGrpSpPr>
        <p:grpSpPr>
          <a:xfrm>
            <a:off x="897895" y="2268780"/>
            <a:ext cx="1810734" cy="1810731"/>
            <a:chOff x="897895" y="2268780"/>
            <a:chExt cx="1810734" cy="1810731"/>
          </a:xfrm>
        </p:grpSpPr>
        <p:sp>
          <p:nvSpPr>
            <p:cNvPr id="135" name="ïŝļîḍé">
              <a:extLst>
                <a:ext uri="{FF2B5EF4-FFF2-40B4-BE49-F238E27FC236}">
                  <a16:creationId xmlns:a16="http://schemas.microsoft.com/office/drawing/2014/main" id="{D29006A3-4880-4876-ABE1-462C1444E378}"/>
                </a:ext>
              </a:extLst>
            </p:cNvPr>
            <p:cNvSpPr/>
            <p:nvPr/>
          </p:nvSpPr>
          <p:spPr>
            <a:xfrm>
              <a:off x="897895" y="2268780"/>
              <a:ext cx="1810734" cy="1810731"/>
            </a:xfrm>
            <a:prstGeom prst="ellipse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136" name="íṩḷîḍè">
              <a:extLst>
                <a:ext uri="{FF2B5EF4-FFF2-40B4-BE49-F238E27FC236}">
                  <a16:creationId xmlns:a16="http://schemas.microsoft.com/office/drawing/2014/main" id="{B46E08D6-321B-48C7-9D7E-DEE93ED70D65}"/>
                </a:ext>
              </a:extLst>
            </p:cNvPr>
            <p:cNvSpPr/>
            <p:nvPr/>
          </p:nvSpPr>
          <p:spPr>
            <a:xfrm>
              <a:off x="1135816" y="3359184"/>
              <a:ext cx="1334891" cy="590324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1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1"/>
                  </a:solidFill>
                </a:rPr>
                <a:t> </a:t>
              </a:r>
              <a:r>
                <a:rPr lang="en-US" altLang="zh-CN" sz="2000" b="1" dirty="0">
                  <a:solidFill>
                    <a:schemeClr val="accent1"/>
                  </a:solidFill>
                </a:rPr>
                <a:t>1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  <p:sp>
          <p:nvSpPr>
            <p:cNvPr id="131" name="iŝlíďè">
              <a:extLst>
                <a:ext uri="{FF2B5EF4-FFF2-40B4-BE49-F238E27FC236}">
                  <a16:creationId xmlns:a16="http://schemas.microsoft.com/office/drawing/2014/main" id="{9C80C5DA-D46A-4A07-98BD-639BD74F9529}"/>
                </a:ext>
              </a:extLst>
            </p:cNvPr>
            <p:cNvSpPr/>
            <p:nvPr/>
          </p:nvSpPr>
          <p:spPr>
            <a:xfrm>
              <a:off x="1515260" y="2681756"/>
              <a:ext cx="576003" cy="576000"/>
            </a:xfrm>
            <a:prstGeom prst="ellipse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400"/>
              <a:endParaRPr lang="zh-CN" alt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33" name="íṩlïḓè">
              <a:extLst>
                <a:ext uri="{FF2B5EF4-FFF2-40B4-BE49-F238E27FC236}">
                  <a16:creationId xmlns:a16="http://schemas.microsoft.com/office/drawing/2014/main" id="{68D3E493-FA6A-4AAB-A011-56EEF8EC9AB5}"/>
                </a:ext>
              </a:extLst>
            </p:cNvPr>
            <p:cNvSpPr/>
            <p:nvPr/>
          </p:nvSpPr>
          <p:spPr bwMode="auto">
            <a:xfrm>
              <a:off x="1669991" y="2869803"/>
              <a:ext cx="266542" cy="199905"/>
            </a:xfrm>
            <a:custGeom>
              <a:avLst/>
              <a:gdLst>
                <a:gd name="connsiteX0" fmla="*/ 505433 w 533400"/>
                <a:gd name="connsiteY0" fmla="*/ 621 h 400050"/>
                <a:gd name="connsiteX1" fmla="*/ 534008 w 533400"/>
                <a:gd name="connsiteY1" fmla="*/ 29196 h 400050"/>
                <a:gd name="connsiteX2" fmla="*/ 534008 w 533400"/>
                <a:gd name="connsiteY2" fmla="*/ 372096 h 400050"/>
                <a:gd name="connsiteX3" fmla="*/ 505433 w 533400"/>
                <a:gd name="connsiteY3" fmla="*/ 400671 h 400050"/>
                <a:gd name="connsiteX4" fmla="*/ 29183 w 533400"/>
                <a:gd name="connsiteY4" fmla="*/ 400671 h 400050"/>
                <a:gd name="connsiteX5" fmla="*/ 608 w 533400"/>
                <a:gd name="connsiteY5" fmla="*/ 372096 h 400050"/>
                <a:gd name="connsiteX6" fmla="*/ 608 w 533400"/>
                <a:gd name="connsiteY6" fmla="*/ 29196 h 400050"/>
                <a:gd name="connsiteX7" fmla="*/ 29183 w 533400"/>
                <a:gd name="connsiteY7" fmla="*/ 621 h 400050"/>
                <a:gd name="connsiteX8" fmla="*/ 505433 w 533400"/>
                <a:gd name="connsiteY8" fmla="*/ 621 h 400050"/>
                <a:gd name="connsiteX9" fmla="*/ 391419 w 533400"/>
                <a:gd name="connsiteY9" fmla="*/ 198646 h 400050"/>
                <a:gd name="connsiteX10" fmla="*/ 351414 w 533400"/>
                <a:gd name="connsiteY10" fmla="*/ 204170 h 400050"/>
                <a:gd name="connsiteX11" fmla="*/ 351414 w 533400"/>
                <a:gd name="connsiteY11" fmla="*/ 204170 h 400050"/>
                <a:gd name="connsiteX12" fmla="*/ 267118 w 533400"/>
                <a:gd name="connsiteY12" fmla="*/ 315613 h 400050"/>
                <a:gd name="connsiteX13" fmla="*/ 264641 w 533400"/>
                <a:gd name="connsiteY13" fmla="*/ 318470 h 400050"/>
                <a:gd name="connsiteX14" fmla="*/ 224255 w 533400"/>
                <a:gd name="connsiteY14" fmla="*/ 318756 h 400050"/>
                <a:gd name="connsiteX15" fmla="*/ 224255 w 533400"/>
                <a:gd name="connsiteY15" fmla="*/ 318756 h 400050"/>
                <a:gd name="connsiteX16" fmla="*/ 162152 w 533400"/>
                <a:gd name="connsiteY16" fmla="*/ 257415 h 400050"/>
                <a:gd name="connsiteX17" fmla="*/ 160247 w 533400"/>
                <a:gd name="connsiteY17" fmla="*/ 255701 h 400050"/>
                <a:gd name="connsiteX18" fmla="*/ 120052 w 533400"/>
                <a:gd name="connsiteY18" fmla="*/ 259606 h 400050"/>
                <a:gd name="connsiteX19" fmla="*/ 120052 w 533400"/>
                <a:gd name="connsiteY19" fmla="*/ 259606 h 400050"/>
                <a:gd name="connsiteX20" fmla="*/ 32517 w 533400"/>
                <a:gd name="connsiteY20" fmla="*/ 366095 h 400050"/>
                <a:gd name="connsiteX21" fmla="*/ 30326 w 533400"/>
                <a:gd name="connsiteY21" fmla="*/ 372096 h 400050"/>
                <a:gd name="connsiteX22" fmla="*/ 39851 w 533400"/>
                <a:gd name="connsiteY22" fmla="*/ 381621 h 400050"/>
                <a:gd name="connsiteX23" fmla="*/ 39851 w 533400"/>
                <a:gd name="connsiteY23" fmla="*/ 381621 h 400050"/>
                <a:gd name="connsiteX24" fmla="*/ 497242 w 533400"/>
                <a:gd name="connsiteY24" fmla="*/ 381621 h 400050"/>
                <a:gd name="connsiteX25" fmla="*/ 502480 w 533400"/>
                <a:gd name="connsiteY25" fmla="*/ 380002 h 400050"/>
                <a:gd name="connsiteX26" fmla="*/ 505147 w 533400"/>
                <a:gd name="connsiteY26" fmla="*/ 366762 h 400050"/>
                <a:gd name="connsiteX27" fmla="*/ 505147 w 533400"/>
                <a:gd name="connsiteY27" fmla="*/ 366762 h 400050"/>
                <a:gd name="connsiteX28" fmla="*/ 397991 w 533400"/>
                <a:gd name="connsiteY28" fmla="*/ 205504 h 400050"/>
                <a:gd name="connsiteX29" fmla="*/ 391419 w 533400"/>
                <a:gd name="connsiteY29" fmla="*/ 198646 h 400050"/>
                <a:gd name="connsiteX30" fmla="*/ 95858 w 533400"/>
                <a:gd name="connsiteY30" fmla="*/ 57771 h 400050"/>
                <a:gd name="connsiteX31" fmla="*/ 57758 w 533400"/>
                <a:gd name="connsiteY31" fmla="*/ 95871 h 400050"/>
                <a:gd name="connsiteX32" fmla="*/ 95858 w 533400"/>
                <a:gd name="connsiteY32" fmla="*/ 133971 h 400050"/>
                <a:gd name="connsiteX33" fmla="*/ 133958 w 533400"/>
                <a:gd name="connsiteY33" fmla="*/ 95871 h 400050"/>
                <a:gd name="connsiteX34" fmla="*/ 95858 w 533400"/>
                <a:gd name="connsiteY34" fmla="*/ 57771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33400" h="400050">
                  <a:moveTo>
                    <a:pt x="505433" y="621"/>
                  </a:moveTo>
                  <a:cubicBezTo>
                    <a:pt x="521245" y="621"/>
                    <a:pt x="534008" y="13385"/>
                    <a:pt x="534008" y="29196"/>
                  </a:cubicBezTo>
                  <a:lnTo>
                    <a:pt x="534008" y="372096"/>
                  </a:lnTo>
                  <a:cubicBezTo>
                    <a:pt x="534008" y="387907"/>
                    <a:pt x="521245" y="400671"/>
                    <a:pt x="505433" y="400671"/>
                  </a:cubicBezTo>
                  <a:lnTo>
                    <a:pt x="29183" y="400671"/>
                  </a:lnTo>
                  <a:cubicBezTo>
                    <a:pt x="13371" y="400671"/>
                    <a:pt x="608" y="387907"/>
                    <a:pt x="608" y="372096"/>
                  </a:cubicBezTo>
                  <a:lnTo>
                    <a:pt x="608" y="29196"/>
                  </a:lnTo>
                  <a:cubicBezTo>
                    <a:pt x="608" y="13385"/>
                    <a:pt x="13371" y="621"/>
                    <a:pt x="29183" y="621"/>
                  </a:cubicBezTo>
                  <a:lnTo>
                    <a:pt x="505433" y="621"/>
                  </a:lnTo>
                  <a:close/>
                  <a:moveTo>
                    <a:pt x="391419" y="198646"/>
                  </a:moveTo>
                  <a:cubicBezTo>
                    <a:pt x="378846" y="189121"/>
                    <a:pt x="360939" y="191597"/>
                    <a:pt x="351414" y="204170"/>
                  </a:cubicBezTo>
                  <a:lnTo>
                    <a:pt x="351414" y="204170"/>
                  </a:lnTo>
                  <a:lnTo>
                    <a:pt x="267118" y="315613"/>
                  </a:lnTo>
                  <a:cubicBezTo>
                    <a:pt x="266355" y="316660"/>
                    <a:pt x="265498" y="317518"/>
                    <a:pt x="264641" y="318470"/>
                  </a:cubicBezTo>
                  <a:cubicBezTo>
                    <a:pt x="253592" y="329710"/>
                    <a:pt x="235495" y="329805"/>
                    <a:pt x="224255" y="318756"/>
                  </a:cubicBezTo>
                  <a:lnTo>
                    <a:pt x="224255" y="318756"/>
                  </a:lnTo>
                  <a:lnTo>
                    <a:pt x="162152" y="257415"/>
                  </a:lnTo>
                  <a:cubicBezTo>
                    <a:pt x="161485" y="256844"/>
                    <a:pt x="160914" y="256177"/>
                    <a:pt x="160247" y="255701"/>
                  </a:cubicBezTo>
                  <a:cubicBezTo>
                    <a:pt x="148055" y="245699"/>
                    <a:pt x="130053" y="247414"/>
                    <a:pt x="120052" y="259606"/>
                  </a:cubicBezTo>
                  <a:lnTo>
                    <a:pt x="120052" y="259606"/>
                  </a:lnTo>
                  <a:lnTo>
                    <a:pt x="32517" y="366095"/>
                  </a:lnTo>
                  <a:cubicBezTo>
                    <a:pt x="31088" y="367810"/>
                    <a:pt x="30326" y="369905"/>
                    <a:pt x="30326" y="372096"/>
                  </a:cubicBezTo>
                  <a:cubicBezTo>
                    <a:pt x="30326" y="377335"/>
                    <a:pt x="34612" y="381621"/>
                    <a:pt x="39851" y="381621"/>
                  </a:cubicBezTo>
                  <a:lnTo>
                    <a:pt x="39851" y="381621"/>
                  </a:lnTo>
                  <a:lnTo>
                    <a:pt x="497242" y="381621"/>
                  </a:lnTo>
                  <a:cubicBezTo>
                    <a:pt x="499146" y="381621"/>
                    <a:pt x="500956" y="381050"/>
                    <a:pt x="502480" y="380002"/>
                  </a:cubicBezTo>
                  <a:cubicBezTo>
                    <a:pt x="506862" y="377049"/>
                    <a:pt x="508005" y="371144"/>
                    <a:pt x="505147" y="366762"/>
                  </a:cubicBezTo>
                  <a:lnTo>
                    <a:pt x="505147" y="366762"/>
                  </a:lnTo>
                  <a:lnTo>
                    <a:pt x="397991" y="205504"/>
                  </a:lnTo>
                  <a:cubicBezTo>
                    <a:pt x="396181" y="202932"/>
                    <a:pt x="393990" y="200551"/>
                    <a:pt x="391419" y="198646"/>
                  </a:cubicBezTo>
                  <a:close/>
                  <a:moveTo>
                    <a:pt x="95858" y="57771"/>
                  </a:moveTo>
                  <a:cubicBezTo>
                    <a:pt x="74808" y="57771"/>
                    <a:pt x="57758" y="74821"/>
                    <a:pt x="57758" y="95871"/>
                  </a:cubicBezTo>
                  <a:cubicBezTo>
                    <a:pt x="57758" y="116921"/>
                    <a:pt x="74808" y="133971"/>
                    <a:pt x="95858" y="133971"/>
                  </a:cubicBezTo>
                  <a:cubicBezTo>
                    <a:pt x="116908" y="133971"/>
                    <a:pt x="133958" y="116921"/>
                    <a:pt x="133958" y="95871"/>
                  </a:cubicBezTo>
                  <a:cubicBezTo>
                    <a:pt x="133958" y="74821"/>
                    <a:pt x="116908" y="57771"/>
                    <a:pt x="95858" y="5777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20" name="iṣliḓè">
            <a:extLst>
              <a:ext uri="{FF2B5EF4-FFF2-40B4-BE49-F238E27FC236}">
                <a16:creationId xmlns:a16="http://schemas.microsoft.com/office/drawing/2014/main" id="{3AABAAFB-44EC-48D7-9AA0-E916D4712D6A}"/>
              </a:ext>
            </a:extLst>
          </p:cNvPr>
          <p:cNvSpPr txBox="1"/>
          <p:nvPr/>
        </p:nvSpPr>
        <p:spPr>
          <a:xfrm>
            <a:off x="6633943" y="4347078"/>
            <a:ext cx="1810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亿人</a:t>
            </a:r>
            <a:endParaRPr lang="en-US" altLang="zh-CN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1" name="íṣlïḍé">
            <a:extLst>
              <a:ext uri="{FF2B5EF4-FFF2-40B4-BE49-F238E27FC236}">
                <a16:creationId xmlns:a16="http://schemas.microsoft.com/office/drawing/2014/main" id="{82094EF1-E531-48D6-A428-7C57D1CB2F62}"/>
              </a:ext>
            </a:extLst>
          </p:cNvPr>
          <p:cNvSpPr/>
          <p:nvPr/>
        </p:nvSpPr>
        <p:spPr>
          <a:xfrm>
            <a:off x="6328227" y="4745817"/>
            <a:ext cx="2455818" cy="471716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5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无人机竞速的观众人数仍然落后于传统的联赛体育，然而，全球观众人数预计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将达到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亿人，超过现有的美国职业棒球大联盟观众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E824DD8E-4F60-4C2E-BD0A-6410723105E9}"/>
              </a:ext>
            </a:extLst>
          </p:cNvPr>
          <p:cNvGrpSpPr/>
          <p:nvPr/>
        </p:nvGrpSpPr>
        <p:grpSpPr>
          <a:xfrm>
            <a:off x="6633943" y="2268780"/>
            <a:ext cx="1810734" cy="1810731"/>
            <a:chOff x="6372687" y="2268780"/>
            <a:chExt cx="1810734" cy="1810731"/>
          </a:xfrm>
        </p:grpSpPr>
        <p:sp>
          <p:nvSpPr>
            <p:cNvPr id="125" name="îśľïḓè">
              <a:extLst>
                <a:ext uri="{FF2B5EF4-FFF2-40B4-BE49-F238E27FC236}">
                  <a16:creationId xmlns:a16="http://schemas.microsoft.com/office/drawing/2014/main" id="{0D5B21DE-2951-4904-8000-790FCFE62A1A}"/>
                </a:ext>
              </a:extLst>
            </p:cNvPr>
            <p:cNvSpPr/>
            <p:nvPr/>
          </p:nvSpPr>
          <p:spPr>
            <a:xfrm>
              <a:off x="6372687" y="2268780"/>
              <a:ext cx="1810734" cy="1810731"/>
            </a:xfrm>
            <a:prstGeom prst="ellipse">
              <a:avLst/>
            </a:prstGeom>
            <a:solidFill>
              <a:schemeClr val="bg1"/>
            </a:solidFill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rmAutofit/>
            </a:bodyPr>
            <a:lstStyle/>
            <a:p>
              <a:pPr algn="r"/>
              <a:endParaRPr lang="zh-CN" altLang="en-US" b="1" dirty="0">
                <a:solidFill>
                  <a:schemeClr val="accent1"/>
                </a:solidFill>
              </a:endParaRPr>
            </a:p>
          </p:txBody>
        </p:sp>
        <p:sp>
          <p:nvSpPr>
            <p:cNvPr id="126" name="iṩlïďé">
              <a:extLst>
                <a:ext uri="{FF2B5EF4-FFF2-40B4-BE49-F238E27FC236}">
                  <a16:creationId xmlns:a16="http://schemas.microsoft.com/office/drawing/2014/main" id="{4EEA4135-95C4-40C8-96CD-BAE2DFD23D5E}"/>
                </a:ext>
              </a:extLst>
            </p:cNvPr>
            <p:cNvSpPr/>
            <p:nvPr/>
          </p:nvSpPr>
          <p:spPr>
            <a:xfrm>
              <a:off x="6610608" y="3359184"/>
              <a:ext cx="1334891" cy="590324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</a:ln>
            <a:effectLst>
              <a:outerShdw blurRad="254000" dist="127000" algn="ctr" rotWithShape="0">
                <a:schemeClr val="bg1">
                  <a:lumMod val="6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2000" b="1" dirty="0">
                  <a:solidFill>
                    <a:schemeClr val="accent3"/>
                  </a:solidFill>
                </a:rPr>
                <a:t>0</a:t>
              </a:r>
              <a:r>
                <a:rPr lang="en-US" altLang="zh-CN" sz="100" b="1" dirty="0">
                  <a:solidFill>
                    <a:schemeClr val="accent3"/>
                  </a:solidFill>
                </a:rPr>
                <a:t> </a:t>
              </a:r>
              <a:r>
                <a:rPr lang="en-US" altLang="zh-CN" sz="2000" b="1" dirty="0">
                  <a:solidFill>
                    <a:schemeClr val="accent3"/>
                  </a:solidFill>
                </a:rPr>
                <a:t>3</a:t>
              </a:r>
              <a:endParaRPr lang="zh-CN" altLang="en-US" sz="2000" b="1" dirty="0">
                <a:solidFill>
                  <a:schemeClr val="accent3"/>
                </a:solidFill>
              </a:endParaRPr>
            </a:p>
          </p:txBody>
        </p:sp>
        <p:grpSp>
          <p:nvGrpSpPr>
            <p:cNvPr id="122" name="ïṩḻîḓe">
              <a:extLst>
                <a:ext uri="{FF2B5EF4-FFF2-40B4-BE49-F238E27FC236}">
                  <a16:creationId xmlns:a16="http://schemas.microsoft.com/office/drawing/2014/main" id="{31291F56-73B5-44DD-A210-411DD9004D65}"/>
                </a:ext>
              </a:extLst>
            </p:cNvPr>
            <p:cNvGrpSpPr/>
            <p:nvPr/>
          </p:nvGrpSpPr>
          <p:grpSpPr>
            <a:xfrm>
              <a:off x="6990051" y="2681756"/>
              <a:ext cx="576003" cy="576000"/>
              <a:chOff x="6910992" y="3291062"/>
              <a:chExt cx="576003" cy="576000"/>
            </a:xfrm>
          </p:grpSpPr>
          <p:sp>
            <p:nvSpPr>
              <p:cNvPr id="123" name="íšļíḋe">
                <a:extLst>
                  <a:ext uri="{FF2B5EF4-FFF2-40B4-BE49-F238E27FC236}">
                    <a16:creationId xmlns:a16="http://schemas.microsoft.com/office/drawing/2014/main" id="{A8CD49D6-CD66-4B34-88F3-A2A2C8F79605}"/>
                  </a:ext>
                </a:extLst>
              </p:cNvPr>
              <p:cNvSpPr/>
              <p:nvPr/>
            </p:nvSpPr>
            <p:spPr>
              <a:xfrm>
                <a:off x="6910992" y="3291062"/>
                <a:ext cx="576003" cy="576000"/>
              </a:xfrm>
              <a:prstGeom prst="ellipse">
                <a:avLst/>
              </a:prstGeom>
              <a:solidFill>
                <a:schemeClr val="accent3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400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4" name="iŝḷidé">
                <a:extLst>
                  <a:ext uri="{FF2B5EF4-FFF2-40B4-BE49-F238E27FC236}">
                    <a16:creationId xmlns:a16="http://schemas.microsoft.com/office/drawing/2014/main" id="{024E3550-5AE2-4FBB-9FD4-F315950605F7}"/>
                  </a:ext>
                </a:extLst>
              </p:cNvPr>
              <p:cNvSpPr/>
              <p:nvPr/>
            </p:nvSpPr>
            <p:spPr bwMode="auto">
              <a:xfrm>
                <a:off x="7065722" y="3457691"/>
                <a:ext cx="266542" cy="242743"/>
              </a:xfrm>
              <a:custGeom>
                <a:avLst/>
                <a:gdLst>
                  <a:gd name="connsiteX0" fmla="*/ 125329 w 533400"/>
                  <a:gd name="connsiteY0" fmla="*/ 229221 h 485775"/>
                  <a:gd name="connsiteX1" fmla="*/ 125329 w 533400"/>
                  <a:gd name="connsiteY1" fmla="*/ 276846 h 485775"/>
                  <a:gd name="connsiteX2" fmla="*/ 144379 w 533400"/>
                  <a:gd name="connsiteY2" fmla="*/ 276846 h 485775"/>
                  <a:gd name="connsiteX3" fmla="*/ 144379 w 533400"/>
                  <a:gd name="connsiteY3" fmla="*/ 229221 h 485775"/>
                  <a:gd name="connsiteX4" fmla="*/ 392029 w 533400"/>
                  <a:gd name="connsiteY4" fmla="*/ 229221 h 485775"/>
                  <a:gd name="connsiteX5" fmla="*/ 392029 w 533400"/>
                  <a:gd name="connsiteY5" fmla="*/ 276846 h 485775"/>
                  <a:gd name="connsiteX6" fmla="*/ 411079 w 533400"/>
                  <a:gd name="connsiteY6" fmla="*/ 276846 h 485775"/>
                  <a:gd name="connsiteX7" fmla="*/ 411079 w 533400"/>
                  <a:gd name="connsiteY7" fmla="*/ 229221 h 485775"/>
                  <a:gd name="connsiteX8" fmla="*/ 534904 w 533400"/>
                  <a:gd name="connsiteY8" fmla="*/ 229221 h 485775"/>
                  <a:gd name="connsiteX9" fmla="*/ 534904 w 533400"/>
                  <a:gd name="connsiteY9" fmla="*/ 457821 h 485775"/>
                  <a:gd name="connsiteX10" fmla="*/ 506329 w 533400"/>
                  <a:gd name="connsiteY10" fmla="*/ 486396 h 485775"/>
                  <a:gd name="connsiteX11" fmla="*/ 30079 w 533400"/>
                  <a:gd name="connsiteY11" fmla="*/ 486396 h 485775"/>
                  <a:gd name="connsiteX12" fmla="*/ 1504 w 533400"/>
                  <a:gd name="connsiteY12" fmla="*/ 457821 h 485775"/>
                  <a:gd name="connsiteX13" fmla="*/ 1504 w 533400"/>
                  <a:gd name="connsiteY13" fmla="*/ 229221 h 485775"/>
                  <a:gd name="connsiteX14" fmla="*/ 125329 w 533400"/>
                  <a:gd name="connsiteY14" fmla="*/ 229221 h 485775"/>
                  <a:gd name="connsiteX15" fmla="*/ 372979 w 533400"/>
                  <a:gd name="connsiteY15" fmla="*/ 621 h 485775"/>
                  <a:gd name="connsiteX16" fmla="*/ 411079 w 533400"/>
                  <a:gd name="connsiteY16" fmla="*/ 36816 h 485775"/>
                  <a:gd name="connsiteX17" fmla="*/ 411079 w 533400"/>
                  <a:gd name="connsiteY17" fmla="*/ 38721 h 485775"/>
                  <a:gd name="connsiteX18" fmla="*/ 411079 w 533400"/>
                  <a:gd name="connsiteY18" fmla="*/ 114921 h 485775"/>
                  <a:gd name="connsiteX19" fmla="*/ 506329 w 533400"/>
                  <a:gd name="connsiteY19" fmla="*/ 114921 h 485775"/>
                  <a:gd name="connsiteX20" fmla="*/ 534904 w 533400"/>
                  <a:gd name="connsiteY20" fmla="*/ 143496 h 485775"/>
                  <a:gd name="connsiteX21" fmla="*/ 534904 w 533400"/>
                  <a:gd name="connsiteY21" fmla="*/ 210171 h 485775"/>
                  <a:gd name="connsiteX22" fmla="*/ 1504 w 533400"/>
                  <a:gd name="connsiteY22" fmla="*/ 210171 h 485775"/>
                  <a:gd name="connsiteX23" fmla="*/ 1504 w 533400"/>
                  <a:gd name="connsiteY23" fmla="*/ 143496 h 485775"/>
                  <a:gd name="connsiteX24" fmla="*/ 30079 w 533400"/>
                  <a:gd name="connsiteY24" fmla="*/ 114921 h 485775"/>
                  <a:gd name="connsiteX25" fmla="*/ 125329 w 533400"/>
                  <a:gd name="connsiteY25" fmla="*/ 114921 h 485775"/>
                  <a:gd name="connsiteX26" fmla="*/ 125329 w 533400"/>
                  <a:gd name="connsiteY26" fmla="*/ 38721 h 485775"/>
                  <a:gd name="connsiteX27" fmla="*/ 161524 w 533400"/>
                  <a:gd name="connsiteY27" fmla="*/ 621 h 485775"/>
                  <a:gd name="connsiteX28" fmla="*/ 163429 w 533400"/>
                  <a:gd name="connsiteY28" fmla="*/ 621 h 485775"/>
                  <a:gd name="connsiteX29" fmla="*/ 372979 w 533400"/>
                  <a:gd name="connsiteY29" fmla="*/ 621 h 485775"/>
                  <a:gd name="connsiteX30" fmla="*/ 372979 w 533400"/>
                  <a:gd name="connsiteY30" fmla="*/ 19671 h 485775"/>
                  <a:gd name="connsiteX31" fmla="*/ 163429 w 533400"/>
                  <a:gd name="connsiteY31" fmla="*/ 19671 h 485775"/>
                  <a:gd name="connsiteX32" fmla="*/ 144474 w 533400"/>
                  <a:gd name="connsiteY32" fmla="*/ 37292 h 485775"/>
                  <a:gd name="connsiteX33" fmla="*/ 144379 w 533400"/>
                  <a:gd name="connsiteY33" fmla="*/ 38721 h 485775"/>
                  <a:gd name="connsiteX34" fmla="*/ 144379 w 533400"/>
                  <a:gd name="connsiteY34" fmla="*/ 114921 h 485775"/>
                  <a:gd name="connsiteX35" fmla="*/ 392029 w 533400"/>
                  <a:gd name="connsiteY35" fmla="*/ 114921 h 485775"/>
                  <a:gd name="connsiteX36" fmla="*/ 392029 w 533400"/>
                  <a:gd name="connsiteY36" fmla="*/ 38721 h 485775"/>
                  <a:gd name="connsiteX37" fmla="*/ 375836 w 533400"/>
                  <a:gd name="connsiteY37" fmla="*/ 19862 h 485775"/>
                  <a:gd name="connsiteX38" fmla="*/ 374408 w 533400"/>
                  <a:gd name="connsiteY38" fmla="*/ 19671 h 485775"/>
                  <a:gd name="connsiteX39" fmla="*/ 372979 w 533400"/>
                  <a:gd name="connsiteY39" fmla="*/ 19671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33400" h="485775">
                    <a:moveTo>
                      <a:pt x="125329" y="229221"/>
                    </a:moveTo>
                    <a:lnTo>
                      <a:pt x="125329" y="276846"/>
                    </a:lnTo>
                    <a:lnTo>
                      <a:pt x="144379" y="276846"/>
                    </a:lnTo>
                    <a:lnTo>
                      <a:pt x="144379" y="229221"/>
                    </a:lnTo>
                    <a:lnTo>
                      <a:pt x="392029" y="229221"/>
                    </a:lnTo>
                    <a:lnTo>
                      <a:pt x="392029" y="276846"/>
                    </a:lnTo>
                    <a:lnTo>
                      <a:pt x="411079" y="276846"/>
                    </a:lnTo>
                    <a:lnTo>
                      <a:pt x="411079" y="229221"/>
                    </a:lnTo>
                    <a:lnTo>
                      <a:pt x="534904" y="229221"/>
                    </a:lnTo>
                    <a:lnTo>
                      <a:pt x="534904" y="457821"/>
                    </a:lnTo>
                    <a:cubicBezTo>
                      <a:pt x="534904" y="473632"/>
                      <a:pt x="522141" y="486396"/>
                      <a:pt x="506329" y="486396"/>
                    </a:cubicBezTo>
                    <a:lnTo>
                      <a:pt x="30079" y="486396"/>
                    </a:lnTo>
                    <a:cubicBezTo>
                      <a:pt x="14267" y="486396"/>
                      <a:pt x="1504" y="473632"/>
                      <a:pt x="1504" y="457821"/>
                    </a:cubicBezTo>
                    <a:lnTo>
                      <a:pt x="1504" y="229221"/>
                    </a:lnTo>
                    <a:lnTo>
                      <a:pt x="125329" y="229221"/>
                    </a:lnTo>
                    <a:close/>
                    <a:moveTo>
                      <a:pt x="372979" y="621"/>
                    </a:moveTo>
                    <a:cubicBezTo>
                      <a:pt x="393363" y="621"/>
                      <a:pt x="410031" y="16623"/>
                      <a:pt x="411079" y="36816"/>
                    </a:cubicBezTo>
                    <a:lnTo>
                      <a:pt x="411079" y="38721"/>
                    </a:lnTo>
                    <a:lnTo>
                      <a:pt x="411079" y="114921"/>
                    </a:lnTo>
                    <a:lnTo>
                      <a:pt x="506329" y="114921"/>
                    </a:lnTo>
                    <a:cubicBezTo>
                      <a:pt x="522141" y="114921"/>
                      <a:pt x="534904" y="127685"/>
                      <a:pt x="534904" y="143496"/>
                    </a:cubicBezTo>
                    <a:lnTo>
                      <a:pt x="534904" y="210171"/>
                    </a:lnTo>
                    <a:lnTo>
                      <a:pt x="1504" y="210171"/>
                    </a:lnTo>
                    <a:lnTo>
                      <a:pt x="1504" y="143496"/>
                    </a:lnTo>
                    <a:cubicBezTo>
                      <a:pt x="1504" y="127685"/>
                      <a:pt x="14267" y="114921"/>
                      <a:pt x="30079" y="114921"/>
                    </a:cubicBezTo>
                    <a:lnTo>
                      <a:pt x="125329" y="114921"/>
                    </a:lnTo>
                    <a:lnTo>
                      <a:pt x="125329" y="38721"/>
                    </a:lnTo>
                    <a:cubicBezTo>
                      <a:pt x="125329" y="18337"/>
                      <a:pt x="141331" y="1669"/>
                      <a:pt x="161524" y="621"/>
                    </a:cubicBezTo>
                    <a:lnTo>
                      <a:pt x="163429" y="621"/>
                    </a:lnTo>
                    <a:lnTo>
                      <a:pt x="372979" y="621"/>
                    </a:lnTo>
                    <a:close/>
                    <a:moveTo>
                      <a:pt x="372979" y="19671"/>
                    </a:moveTo>
                    <a:lnTo>
                      <a:pt x="163429" y="19671"/>
                    </a:lnTo>
                    <a:cubicBezTo>
                      <a:pt x="153428" y="19671"/>
                      <a:pt x="145141" y="27482"/>
                      <a:pt x="144474" y="37292"/>
                    </a:cubicBezTo>
                    <a:lnTo>
                      <a:pt x="144379" y="38721"/>
                    </a:lnTo>
                    <a:lnTo>
                      <a:pt x="144379" y="114921"/>
                    </a:lnTo>
                    <a:lnTo>
                      <a:pt x="392029" y="114921"/>
                    </a:lnTo>
                    <a:lnTo>
                      <a:pt x="392029" y="38721"/>
                    </a:lnTo>
                    <a:cubicBezTo>
                      <a:pt x="392029" y="29196"/>
                      <a:pt x="384981" y="21290"/>
                      <a:pt x="375836" y="19862"/>
                    </a:cubicBezTo>
                    <a:lnTo>
                      <a:pt x="374408" y="19671"/>
                    </a:lnTo>
                    <a:lnTo>
                      <a:pt x="372979" y="1967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</p:grpSp>
      </p:grpSp>
    </p:spTree>
    <p:custDataLst>
      <p:tags r:id="rId2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000"/>
                            </p:stCondLst>
                            <p:childTnLst>
                              <p:par>
                                <p:cTn id="6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500"/>
                            </p:stCondLst>
                            <p:childTnLst>
                              <p:par>
                                <p:cTn id="6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92" grpId="0" animBg="1"/>
      <p:bldP spid="77" grpId="0" animBg="1"/>
      <p:bldP spid="102" grpId="0"/>
      <p:bldP spid="109" grpId="0"/>
      <p:bldP spid="112" grpId="0"/>
      <p:bldP spid="138" grpId="0"/>
      <p:bldP spid="139" grpId="0"/>
      <p:bldP spid="128" grpId="0"/>
      <p:bldP spid="129" grpId="0"/>
      <p:bldP spid="120" grpId="0"/>
      <p:bldP spid="1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组合 20">
            <a:extLst>
              <a:ext uri="{FF2B5EF4-FFF2-40B4-BE49-F238E27FC236}">
                <a16:creationId xmlns:a16="http://schemas.microsoft.com/office/drawing/2014/main" id="{6F7873AF-9A8B-4B27-87EE-C115F7C3EA33}"/>
              </a:ext>
            </a:extLst>
          </p:cNvPr>
          <p:cNvGrpSpPr/>
          <p:nvPr/>
        </p:nvGrpSpPr>
        <p:grpSpPr>
          <a:xfrm>
            <a:off x="180473" y="120316"/>
            <a:ext cx="11869666" cy="2357268"/>
            <a:chOff x="180473" y="120316"/>
            <a:chExt cx="11869666" cy="2357268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8EBE3A87-0083-4EC6-9119-1D5B3EE0A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473" y="120316"/>
              <a:ext cx="4490019" cy="2330728"/>
            </a:xfrm>
            <a:prstGeom prst="rect">
              <a:avLst/>
            </a:prstGeom>
          </p:spPr>
        </p:pic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39DC9278-9D49-489F-AE4F-4CFA7C1E8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1422" y="120316"/>
              <a:ext cx="3496091" cy="2330727"/>
            </a:xfrm>
            <a:prstGeom prst="rect">
              <a:avLst/>
            </a:prstGeom>
          </p:spPr>
        </p:pic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7D8EFB16-918F-4D41-A0AE-68E690291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08444" y="120316"/>
              <a:ext cx="3741695" cy="2357268"/>
            </a:xfrm>
            <a:prstGeom prst="rect">
              <a:avLst/>
            </a:prstGeom>
          </p:spPr>
        </p:pic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BBE926A9-F2CE-41E4-AB7F-496D36A66BD5}"/>
              </a:ext>
            </a:extLst>
          </p:cNvPr>
          <p:cNvSpPr txBox="1"/>
          <p:nvPr/>
        </p:nvSpPr>
        <p:spPr>
          <a:xfrm>
            <a:off x="6312820" y="4188674"/>
            <a:ext cx="23021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PART.04</a:t>
            </a:r>
            <a:endParaRPr lang="zh-CN" altLang="en-US" sz="36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30E41C2-0DE8-4152-AA33-D738C5D30FFA}"/>
              </a:ext>
            </a:extLst>
          </p:cNvPr>
          <p:cNvSpPr txBox="1"/>
          <p:nvPr/>
        </p:nvSpPr>
        <p:spPr>
          <a:xfrm>
            <a:off x="6312819" y="5013190"/>
            <a:ext cx="19246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厦门世锦赛初步方案</a:t>
            </a:r>
          </a:p>
        </p:txBody>
      </p:sp>
      <p:sp>
        <p:nvSpPr>
          <p:cNvPr id="20" name="流程图: 过程 19">
            <a:extLst>
              <a:ext uri="{FF2B5EF4-FFF2-40B4-BE49-F238E27FC236}">
                <a16:creationId xmlns:a16="http://schemas.microsoft.com/office/drawing/2014/main" id="{244BD30B-9070-4C6C-B9DA-0C4E93E091CA}"/>
              </a:ext>
            </a:extLst>
          </p:cNvPr>
          <p:cNvSpPr/>
          <p:nvPr/>
        </p:nvSpPr>
        <p:spPr>
          <a:xfrm>
            <a:off x="0" y="6773779"/>
            <a:ext cx="12192000" cy="84221"/>
          </a:xfrm>
          <a:prstGeom prst="flowChartProcess">
            <a:avLst/>
          </a:prstGeom>
          <a:solidFill>
            <a:srgbClr val="1D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FAAF4120-E517-4571-BD57-15BEF6B683CA}"/>
              </a:ext>
            </a:extLst>
          </p:cNvPr>
          <p:cNvGrpSpPr/>
          <p:nvPr/>
        </p:nvGrpSpPr>
        <p:grpSpPr>
          <a:xfrm>
            <a:off x="3687165" y="3844680"/>
            <a:ext cx="1947600" cy="1947600"/>
            <a:chOff x="8058460" y="5143897"/>
            <a:chExt cx="1291814" cy="1291814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C551982E-08B2-4FBE-BC01-8A4858410C00}"/>
                </a:ext>
              </a:extLst>
            </p:cNvPr>
            <p:cNvSpPr/>
            <p:nvPr/>
          </p:nvSpPr>
          <p:spPr>
            <a:xfrm>
              <a:off x="8198399" y="5276650"/>
              <a:ext cx="1011936" cy="1011936"/>
            </a:xfrm>
            <a:prstGeom prst="ellipse">
              <a:avLst/>
            </a:prstGeom>
            <a:solidFill>
              <a:srgbClr val="1D53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7" name="空心弧 16">
              <a:extLst>
                <a:ext uri="{FF2B5EF4-FFF2-40B4-BE49-F238E27FC236}">
                  <a16:creationId xmlns:a16="http://schemas.microsoft.com/office/drawing/2014/main" id="{B405D77D-520C-48C8-90FD-3D902D184B23}"/>
                </a:ext>
              </a:extLst>
            </p:cNvPr>
            <p:cNvSpPr/>
            <p:nvPr/>
          </p:nvSpPr>
          <p:spPr>
            <a:xfrm rot="16200000">
              <a:off x="8058460" y="5143897"/>
              <a:ext cx="1291814" cy="1291814"/>
            </a:xfrm>
            <a:prstGeom prst="blockArc">
              <a:avLst>
                <a:gd name="adj1" fmla="val 7144729"/>
                <a:gd name="adj2" fmla="val 45231"/>
                <a:gd name="adj3" fmla="val 4758"/>
              </a:avLst>
            </a:prstGeom>
            <a:gradFill>
              <a:gsLst>
                <a:gs pos="0">
                  <a:srgbClr val="1D5394"/>
                </a:gs>
                <a:gs pos="94000">
                  <a:srgbClr val="1D5394">
                    <a:alpha val="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18" name="presentation_323252">
              <a:extLst>
                <a:ext uri="{FF2B5EF4-FFF2-40B4-BE49-F238E27FC236}">
                  <a16:creationId xmlns:a16="http://schemas.microsoft.com/office/drawing/2014/main" id="{B113F3DE-971B-4261-8423-5E313AE3057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15849" y="5542565"/>
              <a:ext cx="564450" cy="504667"/>
            </a:xfrm>
            <a:custGeom>
              <a:avLst/>
              <a:gdLst>
                <a:gd name="connsiteX0" fmla="*/ 325601 w 607639"/>
                <a:gd name="connsiteY0" fmla="*/ 258353 h 543283"/>
                <a:gd name="connsiteX1" fmla="*/ 320884 w 607639"/>
                <a:gd name="connsiteY1" fmla="*/ 263063 h 543283"/>
                <a:gd name="connsiteX2" fmla="*/ 320884 w 607639"/>
                <a:gd name="connsiteY2" fmla="*/ 306964 h 543283"/>
                <a:gd name="connsiteX3" fmla="*/ 325601 w 607639"/>
                <a:gd name="connsiteY3" fmla="*/ 311674 h 543283"/>
                <a:gd name="connsiteX4" fmla="*/ 358086 w 607639"/>
                <a:gd name="connsiteY4" fmla="*/ 311674 h 543283"/>
                <a:gd name="connsiteX5" fmla="*/ 362714 w 607639"/>
                <a:gd name="connsiteY5" fmla="*/ 306964 h 543283"/>
                <a:gd name="connsiteX6" fmla="*/ 362714 w 607639"/>
                <a:gd name="connsiteY6" fmla="*/ 263063 h 543283"/>
                <a:gd name="connsiteX7" fmla="*/ 358086 w 607639"/>
                <a:gd name="connsiteY7" fmla="*/ 258353 h 543283"/>
                <a:gd name="connsiteX8" fmla="*/ 390482 w 607639"/>
                <a:gd name="connsiteY8" fmla="*/ 224938 h 543283"/>
                <a:gd name="connsiteX9" fmla="*/ 385765 w 607639"/>
                <a:gd name="connsiteY9" fmla="*/ 229648 h 543283"/>
                <a:gd name="connsiteX10" fmla="*/ 385765 w 607639"/>
                <a:gd name="connsiteY10" fmla="*/ 306964 h 543283"/>
                <a:gd name="connsiteX11" fmla="*/ 390482 w 607639"/>
                <a:gd name="connsiteY11" fmla="*/ 311674 h 543283"/>
                <a:gd name="connsiteX12" fmla="*/ 422877 w 607639"/>
                <a:gd name="connsiteY12" fmla="*/ 311674 h 543283"/>
                <a:gd name="connsiteX13" fmla="*/ 427594 w 607639"/>
                <a:gd name="connsiteY13" fmla="*/ 306964 h 543283"/>
                <a:gd name="connsiteX14" fmla="*/ 427594 w 607639"/>
                <a:gd name="connsiteY14" fmla="*/ 229648 h 543283"/>
                <a:gd name="connsiteX15" fmla="*/ 422877 w 607639"/>
                <a:gd name="connsiteY15" fmla="*/ 224938 h 543283"/>
                <a:gd name="connsiteX16" fmla="*/ 455273 w 607639"/>
                <a:gd name="connsiteY16" fmla="*/ 191790 h 543283"/>
                <a:gd name="connsiteX17" fmla="*/ 450645 w 607639"/>
                <a:gd name="connsiteY17" fmla="*/ 196500 h 543283"/>
                <a:gd name="connsiteX18" fmla="*/ 450645 w 607639"/>
                <a:gd name="connsiteY18" fmla="*/ 306964 h 543283"/>
                <a:gd name="connsiteX19" fmla="*/ 455273 w 607639"/>
                <a:gd name="connsiteY19" fmla="*/ 311674 h 543283"/>
                <a:gd name="connsiteX20" fmla="*/ 487757 w 607639"/>
                <a:gd name="connsiteY20" fmla="*/ 311674 h 543283"/>
                <a:gd name="connsiteX21" fmla="*/ 492474 w 607639"/>
                <a:gd name="connsiteY21" fmla="*/ 306964 h 543283"/>
                <a:gd name="connsiteX22" fmla="*/ 492474 w 607639"/>
                <a:gd name="connsiteY22" fmla="*/ 196500 h 543283"/>
                <a:gd name="connsiteX23" fmla="*/ 487757 w 607639"/>
                <a:gd name="connsiteY23" fmla="*/ 191790 h 543283"/>
                <a:gd name="connsiteX24" fmla="*/ 520153 w 607639"/>
                <a:gd name="connsiteY24" fmla="*/ 154821 h 543283"/>
                <a:gd name="connsiteX25" fmla="*/ 515436 w 607639"/>
                <a:gd name="connsiteY25" fmla="*/ 159442 h 543283"/>
                <a:gd name="connsiteX26" fmla="*/ 515436 w 607639"/>
                <a:gd name="connsiteY26" fmla="*/ 306964 h 543283"/>
                <a:gd name="connsiteX27" fmla="*/ 520153 w 607639"/>
                <a:gd name="connsiteY27" fmla="*/ 311674 h 543283"/>
                <a:gd name="connsiteX28" fmla="*/ 552638 w 607639"/>
                <a:gd name="connsiteY28" fmla="*/ 311674 h 543283"/>
                <a:gd name="connsiteX29" fmla="*/ 557266 w 607639"/>
                <a:gd name="connsiteY29" fmla="*/ 306964 h 543283"/>
                <a:gd name="connsiteX30" fmla="*/ 557266 w 607639"/>
                <a:gd name="connsiteY30" fmla="*/ 159442 h 543283"/>
                <a:gd name="connsiteX31" fmla="*/ 552638 w 607639"/>
                <a:gd name="connsiteY31" fmla="*/ 154821 h 543283"/>
                <a:gd name="connsiteX32" fmla="*/ 164627 w 607639"/>
                <a:gd name="connsiteY32" fmla="*/ 103316 h 543283"/>
                <a:gd name="connsiteX33" fmla="*/ 185811 w 607639"/>
                <a:gd name="connsiteY33" fmla="*/ 103316 h 543283"/>
                <a:gd name="connsiteX34" fmla="*/ 188570 w 607639"/>
                <a:gd name="connsiteY34" fmla="*/ 107938 h 543283"/>
                <a:gd name="connsiteX35" fmla="*/ 180827 w 607639"/>
                <a:gd name="connsiteY35" fmla="*/ 121893 h 543283"/>
                <a:gd name="connsiteX36" fmla="*/ 189460 w 607639"/>
                <a:gd name="connsiteY36" fmla="*/ 137714 h 543283"/>
                <a:gd name="connsiteX37" fmla="*/ 190439 w 607639"/>
                <a:gd name="connsiteY37" fmla="*/ 143847 h 543283"/>
                <a:gd name="connsiteX38" fmla="*/ 184120 w 607639"/>
                <a:gd name="connsiteY38" fmla="*/ 173533 h 543283"/>
                <a:gd name="connsiteX39" fmla="*/ 210911 w 607639"/>
                <a:gd name="connsiteY39" fmla="*/ 103672 h 543283"/>
                <a:gd name="connsiteX40" fmla="*/ 231293 w 607639"/>
                <a:gd name="connsiteY40" fmla="*/ 103939 h 543283"/>
                <a:gd name="connsiteX41" fmla="*/ 240283 w 607639"/>
                <a:gd name="connsiteY41" fmla="*/ 105983 h 543283"/>
                <a:gd name="connsiteX42" fmla="*/ 296535 w 607639"/>
                <a:gd name="connsiteY42" fmla="*/ 132381 h 543283"/>
                <a:gd name="connsiteX43" fmla="*/ 358305 w 607639"/>
                <a:gd name="connsiteY43" fmla="*/ 113627 h 543283"/>
                <a:gd name="connsiteX44" fmla="*/ 385274 w 607639"/>
                <a:gd name="connsiteY44" fmla="*/ 128026 h 543283"/>
                <a:gd name="connsiteX45" fmla="*/ 370855 w 607639"/>
                <a:gd name="connsiteY45" fmla="*/ 154868 h 543283"/>
                <a:gd name="connsiteX46" fmla="*/ 301163 w 607639"/>
                <a:gd name="connsiteY46" fmla="*/ 176111 h 543283"/>
                <a:gd name="connsiteX47" fmla="*/ 285765 w 607639"/>
                <a:gd name="connsiteY47" fmla="*/ 174955 h 543283"/>
                <a:gd name="connsiteX48" fmla="*/ 231916 w 607639"/>
                <a:gd name="connsiteY48" fmla="*/ 149713 h 543283"/>
                <a:gd name="connsiteX49" fmla="*/ 232361 w 607639"/>
                <a:gd name="connsiteY49" fmla="*/ 517329 h 543283"/>
                <a:gd name="connsiteX50" fmla="*/ 206460 w 607639"/>
                <a:gd name="connsiteY50" fmla="*/ 543283 h 543283"/>
                <a:gd name="connsiteX51" fmla="*/ 180470 w 607639"/>
                <a:gd name="connsiteY51" fmla="*/ 517329 h 543283"/>
                <a:gd name="connsiteX52" fmla="*/ 180470 w 607639"/>
                <a:gd name="connsiteY52" fmla="*/ 310412 h 543283"/>
                <a:gd name="connsiteX53" fmla="*/ 169345 w 607639"/>
                <a:gd name="connsiteY53" fmla="*/ 310412 h 543283"/>
                <a:gd name="connsiteX54" fmla="*/ 169345 w 607639"/>
                <a:gd name="connsiteY54" fmla="*/ 517329 h 543283"/>
                <a:gd name="connsiteX55" fmla="*/ 143355 w 607639"/>
                <a:gd name="connsiteY55" fmla="*/ 543283 h 543283"/>
                <a:gd name="connsiteX56" fmla="*/ 117454 w 607639"/>
                <a:gd name="connsiteY56" fmla="*/ 517329 h 543283"/>
                <a:gd name="connsiteX57" fmla="*/ 117454 w 607639"/>
                <a:gd name="connsiteY57" fmla="*/ 161534 h 543283"/>
                <a:gd name="connsiteX58" fmla="*/ 97695 w 607639"/>
                <a:gd name="connsiteY58" fmla="*/ 209353 h 543283"/>
                <a:gd name="connsiteX59" fmla="*/ 58087 w 607639"/>
                <a:gd name="connsiteY59" fmla="*/ 210153 h 543283"/>
                <a:gd name="connsiteX60" fmla="*/ 22573 w 607639"/>
                <a:gd name="connsiteY60" fmla="*/ 133536 h 543283"/>
                <a:gd name="connsiteX61" fmla="*/ 33076 w 607639"/>
                <a:gd name="connsiteY61" fmla="*/ 104916 h 543283"/>
                <a:gd name="connsiteX62" fmla="*/ 61736 w 607639"/>
                <a:gd name="connsiteY62" fmla="*/ 115404 h 543283"/>
                <a:gd name="connsiteX63" fmla="*/ 76600 w 607639"/>
                <a:gd name="connsiteY63" fmla="*/ 147313 h 543283"/>
                <a:gd name="connsiteX64" fmla="*/ 85412 w 607639"/>
                <a:gd name="connsiteY64" fmla="*/ 125892 h 543283"/>
                <a:gd name="connsiteX65" fmla="*/ 118700 w 607639"/>
                <a:gd name="connsiteY65" fmla="*/ 103672 h 543283"/>
                <a:gd name="connsiteX66" fmla="*/ 138994 w 607639"/>
                <a:gd name="connsiteY66" fmla="*/ 103672 h 543283"/>
                <a:gd name="connsiteX67" fmla="*/ 165428 w 607639"/>
                <a:gd name="connsiteY67" fmla="*/ 173533 h 543283"/>
                <a:gd name="connsiteX68" fmla="*/ 159910 w 607639"/>
                <a:gd name="connsiteY68" fmla="*/ 143758 h 543283"/>
                <a:gd name="connsiteX69" fmla="*/ 160889 w 607639"/>
                <a:gd name="connsiteY69" fmla="*/ 137714 h 543283"/>
                <a:gd name="connsiteX70" fmla="*/ 169612 w 607639"/>
                <a:gd name="connsiteY70" fmla="*/ 121893 h 543283"/>
                <a:gd name="connsiteX71" fmla="*/ 161868 w 607639"/>
                <a:gd name="connsiteY71" fmla="*/ 107938 h 543283"/>
                <a:gd name="connsiteX72" fmla="*/ 164627 w 607639"/>
                <a:gd name="connsiteY72" fmla="*/ 103316 h 543283"/>
                <a:gd name="connsiteX73" fmla="*/ 376420 w 607639"/>
                <a:gd name="connsiteY73" fmla="*/ 97945 h 543283"/>
                <a:gd name="connsiteX74" fmla="*/ 576133 w 607639"/>
                <a:gd name="connsiteY74" fmla="*/ 97945 h 543283"/>
                <a:gd name="connsiteX75" fmla="*/ 607639 w 607639"/>
                <a:gd name="connsiteY75" fmla="*/ 129316 h 543283"/>
                <a:gd name="connsiteX76" fmla="*/ 607639 w 607639"/>
                <a:gd name="connsiteY76" fmla="*/ 336112 h 543283"/>
                <a:gd name="connsiteX77" fmla="*/ 576133 w 607639"/>
                <a:gd name="connsiteY77" fmla="*/ 367572 h 543283"/>
                <a:gd name="connsiteX78" fmla="*/ 491139 w 607639"/>
                <a:gd name="connsiteY78" fmla="*/ 367572 h 543283"/>
                <a:gd name="connsiteX79" fmla="*/ 551214 w 607639"/>
                <a:gd name="connsiteY79" fmla="*/ 517404 h 543283"/>
                <a:gd name="connsiteX80" fmla="*/ 540712 w 607639"/>
                <a:gd name="connsiteY80" fmla="*/ 541843 h 543283"/>
                <a:gd name="connsiteX81" fmla="*/ 516237 w 607639"/>
                <a:gd name="connsiteY81" fmla="*/ 531445 h 543283"/>
                <a:gd name="connsiteX82" fmla="*/ 450645 w 607639"/>
                <a:gd name="connsiteY82" fmla="*/ 367572 h 543283"/>
                <a:gd name="connsiteX83" fmla="*/ 428039 w 607639"/>
                <a:gd name="connsiteY83" fmla="*/ 367572 h 543283"/>
                <a:gd name="connsiteX84" fmla="*/ 363337 w 607639"/>
                <a:gd name="connsiteY84" fmla="*/ 531356 h 543283"/>
                <a:gd name="connsiteX85" fmla="*/ 338862 w 607639"/>
                <a:gd name="connsiteY85" fmla="*/ 541932 h 543283"/>
                <a:gd name="connsiteX86" fmla="*/ 328271 w 607639"/>
                <a:gd name="connsiteY86" fmla="*/ 517493 h 543283"/>
                <a:gd name="connsiteX87" fmla="*/ 387545 w 607639"/>
                <a:gd name="connsiteY87" fmla="*/ 367572 h 543283"/>
                <a:gd name="connsiteX88" fmla="*/ 302106 w 607639"/>
                <a:gd name="connsiteY88" fmla="*/ 367572 h 543283"/>
                <a:gd name="connsiteX89" fmla="*/ 270689 w 607639"/>
                <a:gd name="connsiteY89" fmla="*/ 336201 h 543283"/>
                <a:gd name="connsiteX90" fmla="*/ 270689 w 607639"/>
                <a:gd name="connsiteY90" fmla="*/ 186991 h 543283"/>
                <a:gd name="connsiteX91" fmla="*/ 281013 w 607639"/>
                <a:gd name="connsiteY91" fmla="*/ 191079 h 543283"/>
                <a:gd name="connsiteX92" fmla="*/ 306111 w 607639"/>
                <a:gd name="connsiteY92" fmla="*/ 192057 h 543283"/>
                <a:gd name="connsiteX93" fmla="*/ 375797 w 607639"/>
                <a:gd name="connsiteY93" fmla="*/ 170906 h 543283"/>
                <a:gd name="connsiteX94" fmla="*/ 401251 w 607639"/>
                <a:gd name="connsiteY94" fmla="*/ 123184 h 543283"/>
                <a:gd name="connsiteX95" fmla="*/ 376420 w 607639"/>
                <a:gd name="connsiteY95" fmla="*/ 97945 h 543283"/>
                <a:gd name="connsiteX96" fmla="*/ 302094 w 607639"/>
                <a:gd name="connsiteY96" fmla="*/ 97945 h 543283"/>
                <a:gd name="connsiteX97" fmla="*/ 352756 w 607639"/>
                <a:gd name="connsiteY97" fmla="*/ 97945 h 543283"/>
                <a:gd name="connsiteX98" fmla="*/ 296485 w 607639"/>
                <a:gd name="connsiteY98" fmla="*/ 114951 h 543283"/>
                <a:gd name="connsiteX99" fmla="*/ 278945 w 607639"/>
                <a:gd name="connsiteY99" fmla="*/ 108131 h 543283"/>
                <a:gd name="connsiteX100" fmla="*/ 302094 w 607639"/>
                <a:gd name="connsiteY100" fmla="*/ 97945 h 543283"/>
                <a:gd name="connsiteX101" fmla="*/ 14063 w 607639"/>
                <a:gd name="connsiteY101" fmla="*/ 37814 h 543283"/>
                <a:gd name="connsiteX102" fmla="*/ 23675 w 607639"/>
                <a:gd name="connsiteY102" fmla="*/ 40214 h 543283"/>
                <a:gd name="connsiteX103" fmla="*/ 26701 w 607639"/>
                <a:gd name="connsiteY103" fmla="*/ 52927 h 543283"/>
                <a:gd name="connsiteX104" fmla="*/ 45125 w 607639"/>
                <a:gd name="connsiteY104" fmla="*/ 52393 h 543283"/>
                <a:gd name="connsiteX105" fmla="*/ 55183 w 607639"/>
                <a:gd name="connsiteY105" fmla="*/ 60128 h 543283"/>
                <a:gd name="connsiteX106" fmla="*/ 63015 w 607639"/>
                <a:gd name="connsiteY106" fmla="*/ 93198 h 543283"/>
                <a:gd name="connsiteX107" fmla="*/ 26345 w 607639"/>
                <a:gd name="connsiteY107" fmla="*/ 90353 h 543283"/>
                <a:gd name="connsiteX108" fmla="*/ 11570 w 607639"/>
                <a:gd name="connsiteY108" fmla="*/ 102532 h 543283"/>
                <a:gd name="connsiteX109" fmla="*/ 0 w 607639"/>
                <a:gd name="connsiteY109" fmla="*/ 53638 h 543283"/>
                <a:gd name="connsiteX110" fmla="*/ 175249 w 607639"/>
                <a:gd name="connsiteY110" fmla="*/ 0 h 543283"/>
                <a:gd name="connsiteX111" fmla="*/ 220023 w 607639"/>
                <a:gd name="connsiteY111" fmla="*/ 44703 h 543283"/>
                <a:gd name="connsiteX112" fmla="*/ 175249 w 607639"/>
                <a:gd name="connsiteY112" fmla="*/ 89406 h 543283"/>
                <a:gd name="connsiteX113" fmla="*/ 130475 w 607639"/>
                <a:gd name="connsiteY113" fmla="*/ 44703 h 543283"/>
                <a:gd name="connsiteX114" fmla="*/ 175249 w 607639"/>
                <a:gd name="connsiteY114" fmla="*/ 0 h 543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607639" h="543283">
                  <a:moveTo>
                    <a:pt x="325601" y="258353"/>
                  </a:moveTo>
                  <a:cubicBezTo>
                    <a:pt x="323020" y="258353"/>
                    <a:pt x="320884" y="260485"/>
                    <a:pt x="320884" y="263063"/>
                  </a:cubicBezTo>
                  <a:lnTo>
                    <a:pt x="320884" y="306964"/>
                  </a:lnTo>
                  <a:cubicBezTo>
                    <a:pt x="320884" y="309541"/>
                    <a:pt x="323020" y="311674"/>
                    <a:pt x="325601" y="311674"/>
                  </a:cubicBezTo>
                  <a:lnTo>
                    <a:pt x="358086" y="311674"/>
                  </a:lnTo>
                  <a:cubicBezTo>
                    <a:pt x="360667" y="311674"/>
                    <a:pt x="362714" y="309541"/>
                    <a:pt x="362714" y="306964"/>
                  </a:cubicBezTo>
                  <a:lnTo>
                    <a:pt x="362714" y="263063"/>
                  </a:lnTo>
                  <a:cubicBezTo>
                    <a:pt x="362714" y="260485"/>
                    <a:pt x="360667" y="258353"/>
                    <a:pt x="358086" y="258353"/>
                  </a:cubicBezTo>
                  <a:close/>
                  <a:moveTo>
                    <a:pt x="390482" y="224938"/>
                  </a:moveTo>
                  <a:cubicBezTo>
                    <a:pt x="387901" y="224938"/>
                    <a:pt x="385765" y="227071"/>
                    <a:pt x="385765" y="229648"/>
                  </a:cubicBezTo>
                  <a:lnTo>
                    <a:pt x="385765" y="306964"/>
                  </a:lnTo>
                  <a:cubicBezTo>
                    <a:pt x="385765" y="309541"/>
                    <a:pt x="387901" y="311674"/>
                    <a:pt x="390482" y="311674"/>
                  </a:cubicBezTo>
                  <a:lnTo>
                    <a:pt x="422877" y="311674"/>
                  </a:lnTo>
                  <a:cubicBezTo>
                    <a:pt x="425458" y="311674"/>
                    <a:pt x="427594" y="309541"/>
                    <a:pt x="427594" y="306964"/>
                  </a:cubicBezTo>
                  <a:lnTo>
                    <a:pt x="427594" y="229648"/>
                  </a:lnTo>
                  <a:cubicBezTo>
                    <a:pt x="427594" y="227071"/>
                    <a:pt x="425458" y="224938"/>
                    <a:pt x="422877" y="224938"/>
                  </a:cubicBezTo>
                  <a:close/>
                  <a:moveTo>
                    <a:pt x="455273" y="191790"/>
                  </a:moveTo>
                  <a:cubicBezTo>
                    <a:pt x="452692" y="191790"/>
                    <a:pt x="450645" y="193923"/>
                    <a:pt x="450645" y="196500"/>
                  </a:cubicBezTo>
                  <a:lnTo>
                    <a:pt x="450645" y="306964"/>
                  </a:lnTo>
                  <a:cubicBezTo>
                    <a:pt x="450645" y="309541"/>
                    <a:pt x="452692" y="311674"/>
                    <a:pt x="455273" y="311674"/>
                  </a:cubicBezTo>
                  <a:lnTo>
                    <a:pt x="487757" y="311674"/>
                  </a:lnTo>
                  <a:cubicBezTo>
                    <a:pt x="490338" y="311674"/>
                    <a:pt x="492474" y="309541"/>
                    <a:pt x="492474" y="306964"/>
                  </a:cubicBezTo>
                  <a:lnTo>
                    <a:pt x="492474" y="196500"/>
                  </a:lnTo>
                  <a:cubicBezTo>
                    <a:pt x="492474" y="193923"/>
                    <a:pt x="490338" y="191790"/>
                    <a:pt x="487757" y="191790"/>
                  </a:cubicBezTo>
                  <a:close/>
                  <a:moveTo>
                    <a:pt x="520153" y="154821"/>
                  </a:moveTo>
                  <a:cubicBezTo>
                    <a:pt x="517572" y="154821"/>
                    <a:pt x="515436" y="156865"/>
                    <a:pt x="515436" y="159442"/>
                  </a:cubicBezTo>
                  <a:lnTo>
                    <a:pt x="515436" y="306964"/>
                  </a:lnTo>
                  <a:cubicBezTo>
                    <a:pt x="515436" y="309541"/>
                    <a:pt x="517572" y="311674"/>
                    <a:pt x="520153" y="311674"/>
                  </a:cubicBezTo>
                  <a:lnTo>
                    <a:pt x="552638" y="311674"/>
                  </a:lnTo>
                  <a:cubicBezTo>
                    <a:pt x="555219" y="311674"/>
                    <a:pt x="557266" y="309541"/>
                    <a:pt x="557266" y="306964"/>
                  </a:cubicBezTo>
                  <a:lnTo>
                    <a:pt x="557266" y="159442"/>
                  </a:lnTo>
                  <a:cubicBezTo>
                    <a:pt x="557266" y="156865"/>
                    <a:pt x="555219" y="154821"/>
                    <a:pt x="552638" y="154821"/>
                  </a:cubicBezTo>
                  <a:close/>
                  <a:moveTo>
                    <a:pt x="164627" y="103316"/>
                  </a:moveTo>
                  <a:lnTo>
                    <a:pt x="185811" y="103316"/>
                  </a:lnTo>
                  <a:cubicBezTo>
                    <a:pt x="188214" y="103316"/>
                    <a:pt x="189727" y="105805"/>
                    <a:pt x="188570" y="107938"/>
                  </a:cubicBezTo>
                  <a:lnTo>
                    <a:pt x="180827" y="121893"/>
                  </a:lnTo>
                  <a:lnTo>
                    <a:pt x="189460" y="137714"/>
                  </a:lnTo>
                  <a:cubicBezTo>
                    <a:pt x="190528" y="139580"/>
                    <a:pt x="190884" y="141713"/>
                    <a:pt x="190439" y="143847"/>
                  </a:cubicBezTo>
                  <a:lnTo>
                    <a:pt x="184120" y="173533"/>
                  </a:lnTo>
                  <a:cubicBezTo>
                    <a:pt x="187057" y="165712"/>
                    <a:pt x="207350" y="112827"/>
                    <a:pt x="210911" y="103672"/>
                  </a:cubicBezTo>
                  <a:cubicBezTo>
                    <a:pt x="217675" y="103761"/>
                    <a:pt x="224618" y="103850"/>
                    <a:pt x="231293" y="103939"/>
                  </a:cubicBezTo>
                  <a:cubicBezTo>
                    <a:pt x="234408" y="104027"/>
                    <a:pt x="237434" y="104650"/>
                    <a:pt x="240283" y="105983"/>
                  </a:cubicBezTo>
                  <a:lnTo>
                    <a:pt x="296535" y="132381"/>
                  </a:lnTo>
                  <a:lnTo>
                    <a:pt x="358305" y="113627"/>
                  </a:lnTo>
                  <a:cubicBezTo>
                    <a:pt x="369698" y="110160"/>
                    <a:pt x="381803" y="116560"/>
                    <a:pt x="385274" y="128026"/>
                  </a:cubicBezTo>
                  <a:cubicBezTo>
                    <a:pt x="388745" y="139403"/>
                    <a:pt x="382248" y="151402"/>
                    <a:pt x="370855" y="154868"/>
                  </a:cubicBezTo>
                  <a:lnTo>
                    <a:pt x="301163" y="176111"/>
                  </a:lnTo>
                  <a:cubicBezTo>
                    <a:pt x="296001" y="177622"/>
                    <a:pt x="290482" y="177177"/>
                    <a:pt x="285765" y="174955"/>
                  </a:cubicBezTo>
                  <a:lnTo>
                    <a:pt x="231916" y="149713"/>
                  </a:lnTo>
                  <a:cubicBezTo>
                    <a:pt x="231916" y="365163"/>
                    <a:pt x="232361" y="177977"/>
                    <a:pt x="232361" y="517329"/>
                  </a:cubicBezTo>
                  <a:cubicBezTo>
                    <a:pt x="232361" y="531639"/>
                    <a:pt x="220790" y="543283"/>
                    <a:pt x="206460" y="543283"/>
                  </a:cubicBezTo>
                  <a:cubicBezTo>
                    <a:pt x="192130" y="543283"/>
                    <a:pt x="180470" y="531639"/>
                    <a:pt x="180470" y="517329"/>
                  </a:cubicBezTo>
                  <a:lnTo>
                    <a:pt x="180470" y="310412"/>
                  </a:lnTo>
                  <a:lnTo>
                    <a:pt x="169345" y="310412"/>
                  </a:lnTo>
                  <a:lnTo>
                    <a:pt x="169345" y="517329"/>
                  </a:lnTo>
                  <a:cubicBezTo>
                    <a:pt x="169345" y="531639"/>
                    <a:pt x="157685" y="543283"/>
                    <a:pt x="143355" y="543283"/>
                  </a:cubicBezTo>
                  <a:cubicBezTo>
                    <a:pt x="129114" y="543283"/>
                    <a:pt x="117454" y="531639"/>
                    <a:pt x="117454" y="517329"/>
                  </a:cubicBezTo>
                  <a:cubicBezTo>
                    <a:pt x="117454" y="517329"/>
                    <a:pt x="117454" y="176022"/>
                    <a:pt x="117454" y="161534"/>
                  </a:cubicBezTo>
                  <a:lnTo>
                    <a:pt x="97695" y="209353"/>
                  </a:lnTo>
                  <a:cubicBezTo>
                    <a:pt x="90485" y="226685"/>
                    <a:pt x="66008" y="227218"/>
                    <a:pt x="58087" y="210153"/>
                  </a:cubicBezTo>
                  <a:lnTo>
                    <a:pt x="22573" y="133536"/>
                  </a:lnTo>
                  <a:cubicBezTo>
                    <a:pt x="17500" y="122693"/>
                    <a:pt x="22217" y="109894"/>
                    <a:pt x="33076" y="104916"/>
                  </a:cubicBezTo>
                  <a:cubicBezTo>
                    <a:pt x="43846" y="99850"/>
                    <a:pt x="56752" y="104561"/>
                    <a:pt x="61736" y="115404"/>
                  </a:cubicBezTo>
                  <a:lnTo>
                    <a:pt x="76600" y="147313"/>
                  </a:lnTo>
                  <a:lnTo>
                    <a:pt x="85412" y="125892"/>
                  </a:lnTo>
                  <a:cubicBezTo>
                    <a:pt x="91019" y="112471"/>
                    <a:pt x="104103" y="103672"/>
                    <a:pt x="118700" y="103672"/>
                  </a:cubicBezTo>
                  <a:lnTo>
                    <a:pt x="138994" y="103672"/>
                  </a:lnTo>
                  <a:cubicBezTo>
                    <a:pt x="152434" y="138247"/>
                    <a:pt x="153680" y="143402"/>
                    <a:pt x="165428" y="173533"/>
                  </a:cubicBezTo>
                  <a:lnTo>
                    <a:pt x="159910" y="143758"/>
                  </a:lnTo>
                  <a:cubicBezTo>
                    <a:pt x="159554" y="141713"/>
                    <a:pt x="159910" y="139580"/>
                    <a:pt x="160889" y="137714"/>
                  </a:cubicBezTo>
                  <a:lnTo>
                    <a:pt x="169612" y="121893"/>
                  </a:lnTo>
                  <a:lnTo>
                    <a:pt x="161868" y="107938"/>
                  </a:lnTo>
                  <a:cubicBezTo>
                    <a:pt x="160711" y="105805"/>
                    <a:pt x="162224" y="103316"/>
                    <a:pt x="164627" y="103316"/>
                  </a:cubicBezTo>
                  <a:close/>
                  <a:moveTo>
                    <a:pt x="376420" y="97945"/>
                  </a:moveTo>
                  <a:lnTo>
                    <a:pt x="576133" y="97945"/>
                  </a:lnTo>
                  <a:cubicBezTo>
                    <a:pt x="593488" y="97945"/>
                    <a:pt x="607639" y="112075"/>
                    <a:pt x="607639" y="129316"/>
                  </a:cubicBezTo>
                  <a:lnTo>
                    <a:pt x="607639" y="336112"/>
                  </a:lnTo>
                  <a:cubicBezTo>
                    <a:pt x="607639" y="353442"/>
                    <a:pt x="593488" y="367572"/>
                    <a:pt x="576133" y="367572"/>
                  </a:cubicBezTo>
                  <a:lnTo>
                    <a:pt x="491139" y="367572"/>
                  </a:lnTo>
                  <a:lnTo>
                    <a:pt x="551214" y="517404"/>
                  </a:lnTo>
                  <a:cubicBezTo>
                    <a:pt x="555130" y="527091"/>
                    <a:pt x="550413" y="538021"/>
                    <a:pt x="540712" y="541843"/>
                  </a:cubicBezTo>
                  <a:cubicBezTo>
                    <a:pt x="531100" y="545753"/>
                    <a:pt x="520153" y="541043"/>
                    <a:pt x="516237" y="531445"/>
                  </a:cubicBezTo>
                  <a:lnTo>
                    <a:pt x="450645" y="367572"/>
                  </a:lnTo>
                  <a:lnTo>
                    <a:pt x="428039" y="367572"/>
                  </a:lnTo>
                  <a:lnTo>
                    <a:pt x="363337" y="531356"/>
                  </a:lnTo>
                  <a:cubicBezTo>
                    <a:pt x="359510" y="540954"/>
                    <a:pt x="348563" y="545753"/>
                    <a:pt x="338862" y="541932"/>
                  </a:cubicBezTo>
                  <a:cubicBezTo>
                    <a:pt x="329161" y="538110"/>
                    <a:pt x="324444" y="527179"/>
                    <a:pt x="328271" y="517493"/>
                  </a:cubicBezTo>
                  <a:lnTo>
                    <a:pt x="387545" y="367572"/>
                  </a:lnTo>
                  <a:lnTo>
                    <a:pt x="302106" y="367572"/>
                  </a:lnTo>
                  <a:cubicBezTo>
                    <a:pt x="284751" y="367572"/>
                    <a:pt x="270689" y="353442"/>
                    <a:pt x="270689" y="336201"/>
                  </a:cubicBezTo>
                  <a:lnTo>
                    <a:pt x="270689" y="186991"/>
                  </a:lnTo>
                  <a:lnTo>
                    <a:pt x="281013" y="191079"/>
                  </a:lnTo>
                  <a:cubicBezTo>
                    <a:pt x="289112" y="194278"/>
                    <a:pt x="298012" y="194545"/>
                    <a:pt x="306111" y="192057"/>
                  </a:cubicBezTo>
                  <a:lnTo>
                    <a:pt x="375797" y="170906"/>
                  </a:lnTo>
                  <a:cubicBezTo>
                    <a:pt x="396000" y="164774"/>
                    <a:pt x="407391" y="143357"/>
                    <a:pt x="401251" y="123184"/>
                  </a:cubicBezTo>
                  <a:cubicBezTo>
                    <a:pt x="397424" y="110742"/>
                    <a:pt x="387901" y="101677"/>
                    <a:pt x="376420" y="97945"/>
                  </a:cubicBezTo>
                  <a:close/>
                  <a:moveTo>
                    <a:pt x="302094" y="97945"/>
                  </a:moveTo>
                  <a:lnTo>
                    <a:pt x="352756" y="97945"/>
                  </a:lnTo>
                  <a:lnTo>
                    <a:pt x="296485" y="114951"/>
                  </a:lnTo>
                  <a:lnTo>
                    <a:pt x="278945" y="108131"/>
                  </a:lnTo>
                  <a:cubicBezTo>
                    <a:pt x="284732" y="101842"/>
                    <a:pt x="292924" y="97945"/>
                    <a:pt x="302094" y="97945"/>
                  </a:cubicBezTo>
                  <a:close/>
                  <a:moveTo>
                    <a:pt x="14063" y="37814"/>
                  </a:moveTo>
                  <a:cubicBezTo>
                    <a:pt x="17000" y="34436"/>
                    <a:pt x="22607" y="35858"/>
                    <a:pt x="23675" y="40214"/>
                  </a:cubicBezTo>
                  <a:lnTo>
                    <a:pt x="26701" y="52927"/>
                  </a:lnTo>
                  <a:lnTo>
                    <a:pt x="45125" y="52393"/>
                  </a:lnTo>
                  <a:cubicBezTo>
                    <a:pt x="49931" y="52305"/>
                    <a:pt x="54115" y="55505"/>
                    <a:pt x="55183" y="60128"/>
                  </a:cubicBezTo>
                  <a:lnTo>
                    <a:pt x="63015" y="93198"/>
                  </a:lnTo>
                  <a:cubicBezTo>
                    <a:pt x="52157" y="85908"/>
                    <a:pt x="38272" y="84841"/>
                    <a:pt x="26345" y="90353"/>
                  </a:cubicBezTo>
                  <a:cubicBezTo>
                    <a:pt x="20204" y="93198"/>
                    <a:pt x="15220" y="97465"/>
                    <a:pt x="11570" y="102532"/>
                  </a:cubicBezTo>
                  <a:lnTo>
                    <a:pt x="0" y="53638"/>
                  </a:lnTo>
                  <a:close/>
                  <a:moveTo>
                    <a:pt x="175249" y="0"/>
                  </a:moveTo>
                  <a:cubicBezTo>
                    <a:pt x="199995" y="0"/>
                    <a:pt x="220023" y="19996"/>
                    <a:pt x="220023" y="44703"/>
                  </a:cubicBezTo>
                  <a:cubicBezTo>
                    <a:pt x="220023" y="69587"/>
                    <a:pt x="199728" y="89406"/>
                    <a:pt x="175249" y="89406"/>
                  </a:cubicBezTo>
                  <a:cubicBezTo>
                    <a:pt x="150681" y="89406"/>
                    <a:pt x="130475" y="69499"/>
                    <a:pt x="130475" y="44703"/>
                  </a:cubicBezTo>
                  <a:cubicBezTo>
                    <a:pt x="130475" y="19996"/>
                    <a:pt x="150503" y="0"/>
                    <a:pt x="17524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3337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501409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bKp53mQCm0Qje_y3zxM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0nnr1jxx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2</TotalTime>
  <Words>1352</Words>
  <Application>Microsoft Office PowerPoint</Application>
  <PresentationFormat>宽屏</PresentationFormat>
  <Paragraphs>164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1" baseType="lpstr">
      <vt:lpstr>微软雅黑</vt:lpstr>
      <vt:lpstr>Agency FB</vt:lpstr>
      <vt:lpstr>Arial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FLY</dc:title>
  <dc:creator>Administrator</dc:creator>
  <cp:lastModifiedBy>Administrator</cp:lastModifiedBy>
  <cp:revision>208</cp:revision>
  <dcterms:created xsi:type="dcterms:W3CDTF">2020-01-13T08:11:30Z</dcterms:created>
  <dcterms:modified xsi:type="dcterms:W3CDTF">2020-11-26T05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8.2.6613</vt:lpwstr>
  </property>
</Properties>
</file>